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256" r:id="rId2"/>
    <p:sldId id="504" r:id="rId3"/>
    <p:sldId id="490" r:id="rId4"/>
    <p:sldId id="491" r:id="rId5"/>
    <p:sldId id="516" r:id="rId6"/>
    <p:sldId id="493" r:id="rId7"/>
    <p:sldId id="494" r:id="rId8"/>
    <p:sldId id="507" r:id="rId9"/>
    <p:sldId id="514" r:id="rId10"/>
    <p:sldId id="513" r:id="rId11"/>
    <p:sldId id="364" r:id="rId12"/>
    <p:sldId id="517" r:id="rId13"/>
    <p:sldId id="512" r:id="rId14"/>
    <p:sldId id="515" r:id="rId15"/>
    <p:sldId id="509" r:id="rId16"/>
    <p:sldId id="510" r:id="rId17"/>
    <p:sldId id="511" r:id="rId18"/>
    <p:sldId id="506" r:id="rId19"/>
  </p:sldIdLst>
  <p:sldSz cx="14630400" cy="8229600"/>
  <p:notesSz cx="6858000" cy="9144000"/>
  <p:custDataLst>
    <p:tags r:id="rId22"/>
  </p:custDataLst>
  <p:defaultTextStyle>
    <a:defPPr marL="0" marR="0" indent="0" algn="l" defTabSz="109728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16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109728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16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1pPr>
    <a:lvl2pPr marL="0" marR="0" indent="0" algn="l" defTabSz="109728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16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2pPr>
    <a:lvl3pPr marL="0" marR="0" indent="0" algn="l" defTabSz="109728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16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3pPr>
    <a:lvl4pPr marL="0" marR="0" indent="0" algn="l" defTabSz="109728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16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4pPr>
    <a:lvl5pPr marL="0" marR="0" indent="0" algn="l" defTabSz="109728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16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5pPr>
    <a:lvl6pPr marL="0" marR="0" indent="0" algn="l" defTabSz="109728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16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6pPr>
    <a:lvl7pPr marL="0" marR="0" indent="0" algn="l" defTabSz="109728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16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7pPr>
    <a:lvl8pPr marL="0" marR="0" indent="0" algn="l" defTabSz="109728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16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8pPr>
    <a:lvl9pPr marL="0" marR="0" indent="0" algn="l" defTabSz="109728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16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Calibri"/>
      </a:defRPr>
    </a:lvl9pPr>
  </p:defaultTextStyle>
  <p:extLst>
    <p:ext uri="{EFAFB233-063F-42B5-8137-9DF3F51BA10A}">
      <p15:sldGuideLst xmlns:p15="http://schemas.microsoft.com/office/powerpoint/2012/main">
        <p15:guide id="1" orient="horz" pos="2592" userDrawn="1">
          <p15:clr>
            <a:srgbClr val="A4A3A4"/>
          </p15:clr>
        </p15:guide>
        <p15:guide id="2" pos="460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8479F"/>
    <a:srgbClr val="BDD7EE"/>
    <a:srgbClr val="F2F2F2"/>
    <a:srgbClr val="FFC000"/>
    <a:srgbClr val="92D050"/>
    <a:srgbClr val="EAE8E2"/>
    <a:srgbClr val="D5D1C5"/>
    <a:srgbClr val="DEEBF7"/>
    <a:srgbClr val="007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0DEEF"/>
          </a:solidFill>
        </a:fill>
      </a:tcStyle>
    </a:wholeTbl>
    <a:band2H>
      <a:tcTxStyle/>
      <a:tcStyle>
        <a:tcBdr/>
        <a:fill>
          <a:solidFill>
            <a:srgbClr val="E9EFF7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E0E0E0"/>
          </a:solidFill>
        </a:fill>
      </a:tcStyle>
    </a:wholeTbl>
    <a:band2H>
      <a:tcTxStyle/>
      <a:tcStyle>
        <a:tcBdr/>
        <a:fill>
          <a:solidFill>
            <a:srgbClr val="F0F0F0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4E2CE"/>
          </a:solidFill>
        </a:fill>
      </a:tcStyle>
    </a:wholeTbl>
    <a:band2H>
      <a:tcTxStyle/>
      <a:tcStyle>
        <a:tcBdr/>
        <a:fill>
          <a:solidFill>
            <a:srgbClr val="EBF1E8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2708684C-4D16-4618-839F-0558EEFCDFE6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3851" autoAdjust="0"/>
  </p:normalViewPr>
  <p:slideViewPr>
    <p:cSldViewPr snapToGrid="0" snapToObjects="1">
      <p:cViewPr varScale="1">
        <p:scale>
          <a:sx n="61" d="100"/>
          <a:sy n="61" d="100"/>
        </p:scale>
        <p:origin x="636" y="84"/>
      </p:cViewPr>
      <p:guideLst>
        <p:guide orient="horz" pos="2592"/>
        <p:guide pos="460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661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6E110E-26C7-4E33-BBF2-67DCE9B3E842}" type="datetimeFigureOut">
              <a:rPr lang="en-US" smtClean="0"/>
              <a:pPr/>
              <a:t>9/19/2018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764C98-25F6-4844-93BF-6E640271E7BB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449539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Shape 127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28" name="Shape 128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5685033"/>
      </p:ext>
    </p:extLst>
  </p:cSld>
  <p:clrMap bg1="lt1" tx1="dk1" bg2="lt2" tx2="dk2" accent1="accent1" accent2="accent2" accent3="accent3" accent4="accent4" accent5="accent5" accent6="accent6" hlink="hlink" folHlink="folHlink"/>
  <p:notesStyle>
    <a:lvl1pPr latinLnBrk="0">
      <a:defRPr sz="1440">
        <a:latin typeface="+mj-lt"/>
        <a:ea typeface="+mj-ea"/>
        <a:cs typeface="+mj-cs"/>
        <a:sym typeface="Calibri"/>
      </a:defRPr>
    </a:lvl1pPr>
    <a:lvl2pPr indent="274320" latinLnBrk="0">
      <a:defRPr sz="1440">
        <a:latin typeface="+mj-lt"/>
        <a:ea typeface="+mj-ea"/>
        <a:cs typeface="+mj-cs"/>
        <a:sym typeface="Calibri"/>
      </a:defRPr>
    </a:lvl2pPr>
    <a:lvl3pPr indent="548640" latinLnBrk="0">
      <a:defRPr sz="1440">
        <a:latin typeface="+mj-lt"/>
        <a:ea typeface="+mj-ea"/>
        <a:cs typeface="+mj-cs"/>
        <a:sym typeface="Calibri"/>
      </a:defRPr>
    </a:lvl3pPr>
    <a:lvl4pPr indent="822960" latinLnBrk="0">
      <a:defRPr sz="1440">
        <a:latin typeface="+mj-lt"/>
        <a:ea typeface="+mj-ea"/>
        <a:cs typeface="+mj-cs"/>
        <a:sym typeface="Calibri"/>
      </a:defRPr>
    </a:lvl4pPr>
    <a:lvl5pPr indent="1097280" latinLnBrk="0">
      <a:defRPr sz="1440">
        <a:latin typeface="+mj-lt"/>
        <a:ea typeface="+mj-ea"/>
        <a:cs typeface="+mj-cs"/>
        <a:sym typeface="Calibri"/>
      </a:defRPr>
    </a:lvl5pPr>
    <a:lvl6pPr indent="1371600" latinLnBrk="0">
      <a:defRPr sz="1440">
        <a:latin typeface="+mj-lt"/>
        <a:ea typeface="+mj-ea"/>
        <a:cs typeface="+mj-cs"/>
        <a:sym typeface="Calibri"/>
      </a:defRPr>
    </a:lvl6pPr>
    <a:lvl7pPr indent="1645920" latinLnBrk="0">
      <a:defRPr sz="1440">
        <a:latin typeface="+mj-lt"/>
        <a:ea typeface="+mj-ea"/>
        <a:cs typeface="+mj-cs"/>
        <a:sym typeface="Calibri"/>
      </a:defRPr>
    </a:lvl7pPr>
    <a:lvl8pPr indent="1920240" latinLnBrk="0">
      <a:defRPr sz="1440">
        <a:latin typeface="+mj-lt"/>
        <a:ea typeface="+mj-ea"/>
        <a:cs typeface="+mj-cs"/>
        <a:sym typeface="Calibri"/>
      </a:defRPr>
    </a:lvl8pPr>
    <a:lvl9pPr indent="2194560" latinLnBrk="0">
      <a:defRPr sz="1440">
        <a:latin typeface="+mj-lt"/>
        <a:ea typeface="+mj-ea"/>
        <a:cs typeface="+mj-cs"/>
        <a:sym typeface="Calibri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62672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eg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eg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hape 47"/>
          <p:cNvSpPr>
            <a:spLocks noGrp="1"/>
          </p:cNvSpPr>
          <p:nvPr>
            <p:ph type="title"/>
          </p:nvPr>
        </p:nvSpPr>
        <p:spPr>
          <a:xfrm>
            <a:off x="1007745" y="438150"/>
            <a:ext cx="12618721" cy="1590676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8" name="Shape 48"/>
          <p:cNvSpPr>
            <a:spLocks noGrp="1"/>
          </p:cNvSpPr>
          <p:nvPr>
            <p:ph type="body" sz="quarter" idx="1"/>
          </p:nvPr>
        </p:nvSpPr>
        <p:spPr>
          <a:xfrm>
            <a:off x="1007744" y="2017396"/>
            <a:ext cx="6189348" cy="988697"/>
          </a:xfrm>
          <a:prstGeom prst="rect">
            <a:avLst/>
          </a:prstGeom>
        </p:spPr>
        <p:txBody>
          <a:bodyPr anchor="b"/>
          <a:lstStyle>
            <a:lvl1pPr marL="0" indent="0">
              <a:buSzTx/>
              <a:buFontTx/>
              <a:buNone/>
              <a:defRPr sz="2880" b="1"/>
            </a:lvl1pPr>
            <a:lvl2pPr marL="960120" indent="-411480">
              <a:buFontTx/>
              <a:defRPr sz="2880" b="1"/>
            </a:lvl2pPr>
            <a:lvl3pPr marL="1508760" indent="-411480">
              <a:buFontTx/>
              <a:defRPr sz="2880" b="1"/>
            </a:lvl3pPr>
            <a:lvl4pPr marL="2057400" indent="-411480">
              <a:buFontTx/>
              <a:defRPr sz="2880" b="1"/>
            </a:lvl4pPr>
            <a:lvl5pPr marL="2606040" indent="-411480">
              <a:buFontTx/>
              <a:defRPr sz="2880" b="1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9" name="Shape 49"/>
          <p:cNvSpPr>
            <a:spLocks noGrp="1"/>
          </p:cNvSpPr>
          <p:nvPr>
            <p:ph type="body" sz="quarter" idx="13"/>
          </p:nvPr>
        </p:nvSpPr>
        <p:spPr>
          <a:xfrm>
            <a:off x="7406640" y="2017396"/>
            <a:ext cx="6219826" cy="988697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0" name="Shape 5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Shape 5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58" name="Shape 5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Shape 65"/>
          <p:cNvSpPr>
            <a:spLocks noGrp="1"/>
          </p:cNvSpPr>
          <p:nvPr>
            <p:ph type="title"/>
          </p:nvPr>
        </p:nvSpPr>
        <p:spPr>
          <a:xfrm>
            <a:off x="1007744" y="548640"/>
            <a:ext cx="4718688" cy="1920240"/>
          </a:xfrm>
          <a:prstGeom prst="rect">
            <a:avLst/>
          </a:prstGeom>
        </p:spPr>
        <p:txBody>
          <a:bodyPr anchor="b"/>
          <a:lstStyle>
            <a:lvl1pPr>
              <a:defRPr sz="384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66" name="Shape 66"/>
          <p:cNvSpPr>
            <a:spLocks noGrp="1"/>
          </p:cNvSpPr>
          <p:nvPr>
            <p:ph type="body" sz="half" idx="1"/>
          </p:nvPr>
        </p:nvSpPr>
        <p:spPr>
          <a:xfrm>
            <a:off x="6219825" y="1184911"/>
            <a:ext cx="7406642" cy="5848350"/>
          </a:xfrm>
          <a:prstGeom prst="rect">
            <a:avLst/>
          </a:prstGeom>
        </p:spPr>
        <p:txBody>
          <a:bodyPr/>
          <a:lstStyle>
            <a:lvl1pPr>
              <a:defRPr sz="3840"/>
            </a:lvl1pPr>
            <a:lvl2pPr marL="862148" indent="-313508">
              <a:defRPr sz="3840"/>
            </a:lvl2pPr>
            <a:lvl3pPr marL="1463040" indent="-365760">
              <a:defRPr sz="3840"/>
            </a:lvl3pPr>
            <a:lvl4pPr marL="2084832" indent="-438912">
              <a:defRPr sz="3840"/>
            </a:lvl4pPr>
            <a:lvl5pPr marL="2633472" indent="-438912">
              <a:defRPr sz="384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67" name="Shape 67"/>
          <p:cNvSpPr>
            <a:spLocks noGrp="1"/>
          </p:cNvSpPr>
          <p:nvPr>
            <p:ph type="body" sz="quarter" idx="13"/>
          </p:nvPr>
        </p:nvSpPr>
        <p:spPr>
          <a:xfrm>
            <a:off x="1007744" y="2468880"/>
            <a:ext cx="4718688" cy="45739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Shape 75"/>
          <p:cNvSpPr>
            <a:spLocks noGrp="1"/>
          </p:cNvSpPr>
          <p:nvPr>
            <p:ph type="title"/>
          </p:nvPr>
        </p:nvSpPr>
        <p:spPr>
          <a:xfrm>
            <a:off x="1007744" y="548640"/>
            <a:ext cx="4718688" cy="1920240"/>
          </a:xfrm>
          <a:prstGeom prst="rect">
            <a:avLst/>
          </a:prstGeom>
        </p:spPr>
        <p:txBody>
          <a:bodyPr anchor="b"/>
          <a:lstStyle>
            <a:lvl1pPr>
              <a:defRPr sz="384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76" name="Shape 76"/>
          <p:cNvSpPr>
            <a:spLocks noGrp="1"/>
          </p:cNvSpPr>
          <p:nvPr>
            <p:ph type="pic" sz="half" idx="13"/>
          </p:nvPr>
        </p:nvSpPr>
        <p:spPr>
          <a:xfrm>
            <a:off x="6219825" y="1184911"/>
            <a:ext cx="7406642" cy="584835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77" name="Shape 77"/>
          <p:cNvSpPr>
            <a:spLocks noGrp="1"/>
          </p:cNvSpPr>
          <p:nvPr>
            <p:ph type="body" sz="quarter" idx="1"/>
          </p:nvPr>
        </p:nvSpPr>
        <p:spPr>
          <a:xfrm>
            <a:off x="1007744" y="2468880"/>
            <a:ext cx="4718688" cy="4573906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</a:lvl1pPr>
            <a:lvl2pPr>
              <a:buFontTx/>
            </a:lvl2pPr>
            <a:lvl3pPr>
              <a:buFontTx/>
            </a:lvl3pPr>
            <a:lvl4pPr>
              <a:buFontTx/>
            </a:lvl4pPr>
            <a:lvl5pPr>
              <a:buFontTx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78" name="Shape 7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Shape 94"/>
          <p:cNvSpPr>
            <a:spLocks noGrp="1"/>
          </p:cNvSpPr>
          <p:nvPr>
            <p:ph type="title"/>
          </p:nvPr>
        </p:nvSpPr>
        <p:spPr>
          <a:xfrm>
            <a:off x="10469880" y="438150"/>
            <a:ext cx="3154680" cy="6974206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95" name="Shape 95"/>
          <p:cNvSpPr>
            <a:spLocks noGrp="1"/>
          </p:cNvSpPr>
          <p:nvPr>
            <p:ph type="body" idx="1"/>
          </p:nvPr>
        </p:nvSpPr>
        <p:spPr>
          <a:xfrm>
            <a:off x="1005840" y="438150"/>
            <a:ext cx="9281160" cy="69742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96" name="Shape 9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8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22283996"/>
              </p:ext>
            </p:extLst>
          </p:nvPr>
        </p:nvGraphicFramePr>
        <p:xfrm>
          <a:off x="1908" y="1908"/>
          <a:ext cx="1904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3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3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08" y="1908"/>
                        <a:ext cx="1904" cy="1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-3810"/>
            <a:ext cx="14630400" cy="822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01202" y="81916"/>
            <a:ext cx="1457704" cy="691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0484" y="1416743"/>
            <a:ext cx="13354493" cy="4431983"/>
          </a:xfr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/>
            </a:lvl1pPr>
            <a:lvl2pPr marL="731240" indent="-365624">
              <a:defRPr/>
            </a:lvl2pPr>
            <a:lvl3pPr marL="1096859" indent="-365624">
              <a:defRPr/>
            </a:lvl3pPr>
            <a:lvl4pPr marL="1462480" indent="-365624">
              <a:defRPr/>
            </a:lvl4pPr>
            <a:lvl5pPr marL="1462480" indent="0"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1" y="7780022"/>
            <a:ext cx="3414649" cy="438150"/>
          </a:xfrm>
          <a:prstGeom prst="rect">
            <a:avLst/>
          </a:prstGeom>
        </p:spPr>
        <p:txBody>
          <a:bodyPr/>
          <a:lstStyle>
            <a:lvl1pPr>
              <a:defRPr sz="2280">
                <a:solidFill>
                  <a:prstClr val="black">
                    <a:lumMod val="50000"/>
                    <a:lumOff val="50000"/>
                  </a:prstClr>
                </a:solidFill>
              </a:defRPr>
            </a:lvl1pPr>
          </a:lstStyle>
          <a:p>
            <a:pPr>
              <a:defRPr/>
            </a:pPr>
            <a:endParaRPr lang="en-US" sz="252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998118" y="7804787"/>
            <a:ext cx="4634167" cy="438150"/>
          </a:xfrm>
          <a:prstGeom prst="rect">
            <a:avLst/>
          </a:prstGeom>
        </p:spPr>
        <p:txBody>
          <a:bodyPr/>
          <a:lstStyle>
            <a:lvl1pPr>
              <a:defRPr sz="2280">
                <a:solidFill>
                  <a:prstClr val="black">
                    <a:lumMod val="50000"/>
                    <a:lumOff val="50000"/>
                  </a:prstClr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180603" y="7777500"/>
            <a:ext cx="449799" cy="443194"/>
          </a:xfrm>
        </p:spPr>
        <p:txBody>
          <a:bodyPr/>
          <a:lstStyle>
            <a:lvl1pPr>
              <a:defRPr sz="2280">
                <a:solidFill>
                  <a:srgbClr val="FFFFFF"/>
                </a:solidFill>
                <a:latin typeface="Cambria" panose="02040503050406030204" pitchFamily="18" charset="0"/>
              </a:defRPr>
            </a:lvl1pPr>
          </a:lstStyle>
          <a:p>
            <a:pPr>
              <a:defRPr/>
            </a:pPr>
            <a:fld id="{8C5149F0-75A5-4141-AAE3-49E215B66B3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11" name="Line 3"/>
          <p:cNvSpPr>
            <a:spLocks noChangeShapeType="1"/>
          </p:cNvSpPr>
          <p:nvPr userDrawn="1">
            <p:custDataLst>
              <p:tags r:id="rId2"/>
            </p:custDataLst>
          </p:nvPr>
        </p:nvSpPr>
        <p:spPr bwMode="auto">
          <a:xfrm>
            <a:off x="1500132" y="1083786"/>
            <a:ext cx="13124665" cy="0"/>
          </a:xfrm>
          <a:prstGeom prst="line">
            <a:avLst/>
          </a:prstGeom>
          <a:noFill/>
          <a:ln w="9525">
            <a:solidFill>
              <a:schemeClr val="accent5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4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49768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8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19610175"/>
              </p:ext>
            </p:extLst>
          </p:nvPr>
        </p:nvGraphicFramePr>
        <p:xfrm>
          <a:off x="1908" y="1908"/>
          <a:ext cx="1904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0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3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08" y="1908"/>
                        <a:ext cx="1904" cy="1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-3810"/>
            <a:ext cx="14630400" cy="822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01202" y="81916"/>
            <a:ext cx="1457704" cy="691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0484" y="1416743"/>
            <a:ext cx="13354493" cy="4431983"/>
          </a:xfr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/>
            </a:lvl1pPr>
            <a:lvl2pPr marL="731240" indent="-365624">
              <a:defRPr/>
            </a:lvl2pPr>
            <a:lvl3pPr marL="1096859" indent="-365624">
              <a:defRPr/>
            </a:lvl3pPr>
            <a:lvl4pPr marL="1462480" indent="-365624">
              <a:defRPr/>
            </a:lvl4pPr>
            <a:lvl5pPr marL="1462480" indent="0"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1" y="7780022"/>
            <a:ext cx="3414649" cy="438150"/>
          </a:xfrm>
          <a:prstGeom prst="rect">
            <a:avLst/>
          </a:prstGeom>
        </p:spPr>
        <p:txBody>
          <a:bodyPr/>
          <a:lstStyle>
            <a:lvl1pPr>
              <a:defRPr sz="2280">
                <a:solidFill>
                  <a:prstClr val="black">
                    <a:lumMod val="50000"/>
                    <a:lumOff val="50000"/>
                  </a:prstClr>
                </a:solidFill>
              </a:defRPr>
            </a:lvl1pPr>
          </a:lstStyle>
          <a:p>
            <a:pPr>
              <a:defRPr/>
            </a:pPr>
            <a:endParaRPr lang="en-US" sz="252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998118" y="7804787"/>
            <a:ext cx="4634167" cy="438150"/>
          </a:xfrm>
          <a:prstGeom prst="rect">
            <a:avLst/>
          </a:prstGeom>
        </p:spPr>
        <p:txBody>
          <a:bodyPr/>
          <a:lstStyle>
            <a:lvl1pPr>
              <a:defRPr sz="2280">
                <a:solidFill>
                  <a:prstClr val="black">
                    <a:lumMod val="50000"/>
                    <a:lumOff val="50000"/>
                  </a:prstClr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180603" y="7777500"/>
            <a:ext cx="449799" cy="443194"/>
          </a:xfrm>
        </p:spPr>
        <p:txBody>
          <a:bodyPr/>
          <a:lstStyle>
            <a:lvl1pPr>
              <a:defRPr sz="2280">
                <a:solidFill>
                  <a:srgbClr val="FFFFFF"/>
                </a:solidFill>
                <a:latin typeface="Cambria" panose="02040503050406030204" pitchFamily="18" charset="0"/>
              </a:defRPr>
            </a:lvl1pPr>
          </a:lstStyle>
          <a:p>
            <a:pPr>
              <a:defRPr/>
            </a:pPr>
            <a:fld id="{5F8835A0-94F8-453E-8B9D-0AF3B14301F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11" name="Line 3"/>
          <p:cNvSpPr>
            <a:spLocks noChangeShapeType="1"/>
          </p:cNvSpPr>
          <p:nvPr userDrawn="1">
            <p:custDataLst>
              <p:tags r:id="rId2"/>
            </p:custDataLst>
          </p:nvPr>
        </p:nvSpPr>
        <p:spPr bwMode="auto">
          <a:xfrm>
            <a:off x="1500132" y="1083786"/>
            <a:ext cx="13124665" cy="0"/>
          </a:xfrm>
          <a:prstGeom prst="line">
            <a:avLst/>
          </a:prstGeom>
          <a:noFill/>
          <a:ln w="9525">
            <a:solidFill>
              <a:schemeClr val="accent5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4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74103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8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11609524"/>
              </p:ext>
            </p:extLst>
          </p:nvPr>
        </p:nvGraphicFramePr>
        <p:xfrm>
          <a:off x="1908" y="1908"/>
          <a:ext cx="1904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98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3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08" y="1908"/>
                        <a:ext cx="1904" cy="1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-3810"/>
            <a:ext cx="14630400" cy="822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01202" y="81916"/>
            <a:ext cx="1457704" cy="691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0484" y="1416743"/>
            <a:ext cx="13354493" cy="4431983"/>
          </a:xfr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/>
            </a:lvl1pPr>
            <a:lvl2pPr marL="731240" indent="-365624">
              <a:defRPr/>
            </a:lvl2pPr>
            <a:lvl3pPr marL="1096859" indent="-365624">
              <a:defRPr/>
            </a:lvl3pPr>
            <a:lvl4pPr marL="1462480" indent="-365624">
              <a:defRPr/>
            </a:lvl4pPr>
            <a:lvl5pPr marL="1462480" indent="0">
              <a:buNone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1" y="7780022"/>
            <a:ext cx="3414649" cy="438150"/>
          </a:xfrm>
          <a:prstGeom prst="rect">
            <a:avLst/>
          </a:prstGeom>
        </p:spPr>
        <p:txBody>
          <a:bodyPr/>
          <a:lstStyle>
            <a:lvl1pPr>
              <a:defRPr sz="2280">
                <a:solidFill>
                  <a:prstClr val="black">
                    <a:lumMod val="50000"/>
                    <a:lumOff val="50000"/>
                  </a:prstClr>
                </a:solidFill>
              </a:defRPr>
            </a:lvl1pPr>
          </a:lstStyle>
          <a:p>
            <a:pPr>
              <a:defRPr/>
            </a:pPr>
            <a:endParaRPr lang="en-US" sz="252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998118" y="7804787"/>
            <a:ext cx="4634167" cy="438150"/>
          </a:xfrm>
          <a:prstGeom prst="rect">
            <a:avLst/>
          </a:prstGeom>
        </p:spPr>
        <p:txBody>
          <a:bodyPr/>
          <a:lstStyle>
            <a:lvl1pPr>
              <a:defRPr sz="2280">
                <a:solidFill>
                  <a:prstClr val="black">
                    <a:lumMod val="50000"/>
                    <a:lumOff val="50000"/>
                  </a:prstClr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180603" y="7777500"/>
            <a:ext cx="449799" cy="443194"/>
          </a:xfrm>
        </p:spPr>
        <p:txBody>
          <a:bodyPr/>
          <a:lstStyle>
            <a:lvl1pPr>
              <a:defRPr sz="2280">
                <a:solidFill>
                  <a:srgbClr val="FFFFFF"/>
                </a:solidFill>
                <a:latin typeface="Cambria" panose="02040503050406030204" pitchFamily="18" charset="0"/>
              </a:defRPr>
            </a:lvl1pPr>
          </a:lstStyle>
          <a:p>
            <a:pPr>
              <a:defRPr/>
            </a:pPr>
            <a:fld id="{18712838-6274-4839-BA5F-F8B747DEFFDB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1" name="Line 3"/>
          <p:cNvSpPr>
            <a:spLocks noChangeShapeType="1"/>
          </p:cNvSpPr>
          <p:nvPr userDrawn="1">
            <p:custDataLst>
              <p:tags r:id="rId2"/>
            </p:custDataLst>
          </p:nvPr>
        </p:nvSpPr>
        <p:spPr bwMode="auto">
          <a:xfrm>
            <a:off x="1500132" y="1083786"/>
            <a:ext cx="13124665" cy="0"/>
          </a:xfrm>
          <a:prstGeom prst="line">
            <a:avLst/>
          </a:prstGeom>
          <a:noFill/>
          <a:ln w="9525">
            <a:solidFill>
              <a:schemeClr val="accent5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4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49577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4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6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FBFBFB"/>
            </a:gs>
            <a:gs pos="74000">
              <a:srgbClr val="D7D7D7"/>
            </a:gs>
            <a:gs pos="100000">
              <a:srgbClr val="D7D7D7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547840915"/>
              </p:ext>
            </p:extLst>
          </p:nvPr>
        </p:nvGraphicFramePr>
        <p:xfrm>
          <a:off x="1906" y="1906"/>
          <a:ext cx="1904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05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Picture 33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06" y="1906"/>
                        <a:ext cx="1904" cy="1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1005840" y="438150"/>
            <a:ext cx="12618720" cy="159067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 anchor="ctr">
            <a:normAutofit/>
          </a:bodyPr>
          <a:lstStyle/>
          <a:p>
            <a:r>
              <a:t>Title Text</a:t>
            </a:r>
          </a:p>
        </p:txBody>
      </p:sp>
      <p:sp>
        <p:nvSpPr>
          <p:cNvPr id="3" name="Shape 3"/>
          <p:cNvSpPr>
            <a:spLocks noGrp="1"/>
          </p:cNvSpPr>
          <p:nvPr>
            <p:ph type="body" idx="1"/>
          </p:nvPr>
        </p:nvSpPr>
        <p:spPr>
          <a:xfrm>
            <a:off x="1005840" y="2190750"/>
            <a:ext cx="12618720" cy="522160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" name="Shape 4"/>
          <p:cNvSpPr>
            <a:spLocks noGrp="1"/>
          </p:cNvSpPr>
          <p:nvPr>
            <p:ph type="sldNum" sz="quarter" idx="2"/>
          </p:nvPr>
        </p:nvSpPr>
        <p:spPr>
          <a:xfrm>
            <a:off x="13306210" y="7689731"/>
            <a:ext cx="318352" cy="313928"/>
          </a:xfrm>
          <a:prstGeom prst="rect">
            <a:avLst/>
          </a:prstGeom>
          <a:ln w="12700">
            <a:miter lim="400000"/>
          </a:ln>
        </p:spPr>
        <p:txBody>
          <a:bodyPr wrap="none" lIns="45718" tIns="45718" rIns="45718" bIns="45718" anchor="ctr">
            <a:spAutoFit/>
          </a:bodyPr>
          <a:lstStyle>
            <a:lvl1pPr algn="r">
              <a:defRPr sz="1440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grpSp>
        <p:nvGrpSpPr>
          <p:cNvPr id="6" name="GuideLines"/>
          <p:cNvGrpSpPr/>
          <p:nvPr userDrawn="1"/>
        </p:nvGrpSpPr>
        <p:grpSpPr>
          <a:xfrm>
            <a:off x="602896" y="1645639"/>
            <a:ext cx="9763200" cy="5796914"/>
            <a:chOff x="595312" y="1981199"/>
            <a:chExt cx="8715376" cy="3686176"/>
          </a:xfrm>
        </p:grpSpPr>
        <p:sp>
          <p:nvSpPr>
            <p:cNvPr id="7" name="Text Box 5"/>
            <p:cNvSpPr txBox="1"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751104" y="3603883"/>
              <a:ext cx="8408245" cy="39225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none" lIns="0" tIns="0" rIns="0" bIns="0" anchor="ctr" anchorCtr="1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3600" dirty="0" smtClean="0">
                  <a:solidFill>
                    <a:srgbClr val="939393"/>
                  </a:solidFill>
                </a:rPr>
                <a:t>Please remember to delete the guides after use.</a:t>
              </a:r>
            </a:p>
          </p:txBody>
        </p:sp>
        <p:grpSp>
          <p:nvGrpSpPr>
            <p:cNvPr id="8" name="Group 7"/>
            <p:cNvGrpSpPr/>
            <p:nvPr/>
          </p:nvGrpSpPr>
          <p:grpSpPr>
            <a:xfrm>
              <a:off x="595312" y="1981199"/>
              <a:ext cx="8715376" cy="3686176"/>
              <a:chOff x="595313" y="1981199"/>
              <a:chExt cx="8715376" cy="3686175"/>
            </a:xfrm>
          </p:grpSpPr>
          <p:sp>
            <p:nvSpPr>
              <p:cNvPr id="9" name="Rectangle 6"/>
              <p:cNvSpPr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595313" y="1981199"/>
                <a:ext cx="4357688" cy="1847559"/>
              </a:xfrm>
              <a:prstGeom prst="rect">
                <a:avLst/>
              </a:prstGeom>
              <a:noFill/>
              <a:ln w="12700">
                <a:solidFill>
                  <a:schemeClr val="tx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E6E6E6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tx1"/>
                      </a:outerShdw>
                    </a:effectLst>
                  </a14:hiddenEffects>
                </a:ext>
              </a:extLst>
            </p:spPr>
            <p:txBody>
              <a:bodyPr wrap="none" lIns="45720" rIns="45720" anchor="ctr"/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de-DE" sz="2400" b="1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" name="Rectangle 7"/>
              <p:cNvSpPr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595313" y="3828758"/>
                <a:ext cx="4357688" cy="1838616"/>
              </a:xfrm>
              <a:prstGeom prst="rect">
                <a:avLst/>
              </a:prstGeom>
              <a:noFill/>
              <a:ln w="12700">
                <a:solidFill>
                  <a:schemeClr val="tx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E6E6E6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tx1"/>
                      </a:outerShdw>
                    </a:effectLst>
                  </a14:hiddenEffects>
                </a:ext>
              </a:extLst>
            </p:spPr>
            <p:txBody>
              <a:bodyPr wrap="none" lIns="45720" rIns="45720" anchor="ctr"/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de-DE" sz="2400" b="1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" name="Rectangle 8"/>
              <p:cNvSpPr>
                <a:spLocks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953001" y="3828758"/>
                <a:ext cx="4357688" cy="1838616"/>
              </a:xfrm>
              <a:prstGeom prst="rect">
                <a:avLst/>
              </a:prstGeom>
              <a:noFill/>
              <a:ln w="12700">
                <a:solidFill>
                  <a:schemeClr val="tx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E6E6E6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tx1"/>
                      </a:outerShdw>
                    </a:effectLst>
                  </a14:hiddenEffects>
                </a:ext>
              </a:extLst>
            </p:spPr>
            <p:txBody>
              <a:bodyPr wrap="none" lIns="45720" rIns="45720" anchor="ctr"/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de-DE" sz="2400" b="1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" name="Rectangle 9"/>
              <p:cNvSpPr>
                <a:spLocks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953001" y="1981199"/>
                <a:ext cx="4357688" cy="1847559"/>
              </a:xfrm>
              <a:prstGeom prst="rect">
                <a:avLst/>
              </a:prstGeom>
              <a:noFill/>
              <a:ln w="12700">
                <a:solidFill>
                  <a:schemeClr val="tx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E6E6E6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tx1"/>
                      </a:outerShdw>
                    </a:effectLst>
                  </a14:hiddenEffects>
                </a:ext>
              </a:extLst>
            </p:spPr>
            <p:txBody>
              <a:bodyPr wrap="none" lIns="45720" rIns="45720" anchor="ctr"/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de-DE" sz="2400" b="1" smtClean="0">
                  <a:solidFill>
                    <a:srgbClr val="FFFFFF"/>
                  </a:solidFill>
                </a:endParaRPr>
              </a:p>
            </p:txBody>
          </p:sp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56" r:id="rId4"/>
    <p:sldLayoutId id="2147483658" r:id="rId5"/>
    <p:sldLayoutId id="2147483663" r:id="rId6"/>
    <p:sldLayoutId id="2147483665" r:id="rId7"/>
    <p:sldLayoutId id="2147483667" r:id="rId8"/>
  </p:sldLayoutIdLst>
  <p:transition spd="med"/>
  <p:timing>
    <p:tnLst>
      <p:par>
        <p:cTn id="1" dur="indefinite" restart="never" nodeType="tmRoot"/>
      </p:par>
    </p:tnLst>
  </p:timing>
  <p:hf hdr="0" ftr="0" dt="0"/>
  <p:txStyles>
    <p:titleStyle>
      <a:lvl1pPr marL="0" marR="0" indent="0" algn="l" defTabSz="109728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60" b="0" i="0" u="none" strike="noStrike" cap="none" spc="0" baseline="0">
          <a:ln>
            <a:noFill/>
          </a:ln>
          <a:solidFill>
            <a:srgbClr val="000000"/>
          </a:solidFill>
          <a:uFillTx/>
          <a:latin typeface="Century Gothic"/>
          <a:ea typeface="Century Gothic"/>
          <a:cs typeface="Century Gothic"/>
          <a:sym typeface="Century Gothic"/>
        </a:defRPr>
      </a:lvl1pPr>
      <a:lvl2pPr marL="0" marR="0" indent="0" algn="l" defTabSz="109728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60" b="0" i="0" u="none" strike="noStrike" cap="none" spc="0" baseline="0">
          <a:ln>
            <a:noFill/>
          </a:ln>
          <a:solidFill>
            <a:srgbClr val="000000"/>
          </a:solidFill>
          <a:uFillTx/>
          <a:latin typeface="Century Gothic"/>
          <a:ea typeface="Century Gothic"/>
          <a:cs typeface="Century Gothic"/>
          <a:sym typeface="Century Gothic"/>
        </a:defRPr>
      </a:lvl2pPr>
      <a:lvl3pPr marL="0" marR="0" indent="0" algn="l" defTabSz="109728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60" b="0" i="0" u="none" strike="noStrike" cap="none" spc="0" baseline="0">
          <a:ln>
            <a:noFill/>
          </a:ln>
          <a:solidFill>
            <a:srgbClr val="000000"/>
          </a:solidFill>
          <a:uFillTx/>
          <a:latin typeface="Century Gothic"/>
          <a:ea typeface="Century Gothic"/>
          <a:cs typeface="Century Gothic"/>
          <a:sym typeface="Century Gothic"/>
        </a:defRPr>
      </a:lvl3pPr>
      <a:lvl4pPr marL="0" marR="0" indent="0" algn="l" defTabSz="109728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60" b="0" i="0" u="none" strike="noStrike" cap="none" spc="0" baseline="0">
          <a:ln>
            <a:noFill/>
          </a:ln>
          <a:solidFill>
            <a:srgbClr val="000000"/>
          </a:solidFill>
          <a:uFillTx/>
          <a:latin typeface="Century Gothic"/>
          <a:ea typeface="Century Gothic"/>
          <a:cs typeface="Century Gothic"/>
          <a:sym typeface="Century Gothic"/>
        </a:defRPr>
      </a:lvl4pPr>
      <a:lvl5pPr marL="0" marR="0" indent="0" algn="l" defTabSz="109728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60" b="0" i="0" u="none" strike="noStrike" cap="none" spc="0" baseline="0">
          <a:ln>
            <a:noFill/>
          </a:ln>
          <a:solidFill>
            <a:srgbClr val="000000"/>
          </a:solidFill>
          <a:uFillTx/>
          <a:latin typeface="Century Gothic"/>
          <a:ea typeface="Century Gothic"/>
          <a:cs typeface="Century Gothic"/>
          <a:sym typeface="Century Gothic"/>
        </a:defRPr>
      </a:lvl5pPr>
      <a:lvl6pPr marL="0" marR="0" indent="0" algn="l" defTabSz="109728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60" b="0" i="0" u="none" strike="noStrike" cap="none" spc="0" baseline="0">
          <a:ln>
            <a:noFill/>
          </a:ln>
          <a:solidFill>
            <a:srgbClr val="000000"/>
          </a:solidFill>
          <a:uFillTx/>
          <a:latin typeface="Century Gothic"/>
          <a:ea typeface="Century Gothic"/>
          <a:cs typeface="Century Gothic"/>
          <a:sym typeface="Century Gothic"/>
        </a:defRPr>
      </a:lvl6pPr>
      <a:lvl7pPr marL="0" marR="0" indent="0" algn="l" defTabSz="109728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60" b="0" i="0" u="none" strike="noStrike" cap="none" spc="0" baseline="0">
          <a:ln>
            <a:noFill/>
          </a:ln>
          <a:solidFill>
            <a:srgbClr val="000000"/>
          </a:solidFill>
          <a:uFillTx/>
          <a:latin typeface="Century Gothic"/>
          <a:ea typeface="Century Gothic"/>
          <a:cs typeface="Century Gothic"/>
          <a:sym typeface="Century Gothic"/>
        </a:defRPr>
      </a:lvl7pPr>
      <a:lvl8pPr marL="0" marR="0" indent="0" algn="l" defTabSz="109728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60" b="0" i="0" u="none" strike="noStrike" cap="none" spc="0" baseline="0">
          <a:ln>
            <a:noFill/>
          </a:ln>
          <a:solidFill>
            <a:srgbClr val="000000"/>
          </a:solidFill>
          <a:uFillTx/>
          <a:latin typeface="Century Gothic"/>
          <a:ea typeface="Century Gothic"/>
          <a:cs typeface="Century Gothic"/>
          <a:sym typeface="Century Gothic"/>
        </a:defRPr>
      </a:lvl8pPr>
      <a:lvl9pPr marL="0" marR="0" indent="0" algn="l" defTabSz="109728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160" b="0" i="0" u="none" strike="noStrike" cap="none" spc="0" baseline="0">
          <a:ln>
            <a:noFill/>
          </a:ln>
          <a:solidFill>
            <a:srgbClr val="000000"/>
          </a:solidFill>
          <a:uFillTx/>
          <a:latin typeface="Century Gothic"/>
          <a:ea typeface="Century Gothic"/>
          <a:cs typeface="Century Gothic"/>
          <a:sym typeface="Century Gothic"/>
        </a:defRPr>
      </a:lvl9pPr>
    </p:titleStyle>
    <p:bodyStyle>
      <a:lvl1pPr marL="274320" marR="0" indent="-274320" algn="l" defTabSz="1097280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ClrTx/>
        <a:buSzPct val="100000"/>
        <a:buFont typeface="Arial"/>
        <a:buChar char="•"/>
        <a:tabLst/>
        <a:defRPr sz="1920" b="0" i="0" u="none" strike="noStrike" cap="none" spc="0" baseline="0">
          <a:ln>
            <a:noFill/>
          </a:ln>
          <a:solidFill>
            <a:srgbClr val="000000"/>
          </a:solidFill>
          <a:uFillTx/>
          <a:latin typeface="Century Gothic"/>
          <a:ea typeface="Century Gothic"/>
          <a:cs typeface="Century Gothic"/>
          <a:sym typeface="Century Gothic"/>
        </a:defRPr>
      </a:lvl1pPr>
      <a:lvl2pPr marL="822960" marR="0" indent="-274320" algn="l" defTabSz="1097280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ClrTx/>
        <a:buSzPct val="100000"/>
        <a:buFont typeface="Arial"/>
        <a:buChar char="•"/>
        <a:tabLst/>
        <a:defRPr sz="1920" b="0" i="0" u="none" strike="noStrike" cap="none" spc="0" baseline="0">
          <a:ln>
            <a:noFill/>
          </a:ln>
          <a:solidFill>
            <a:srgbClr val="000000"/>
          </a:solidFill>
          <a:uFillTx/>
          <a:latin typeface="Century Gothic"/>
          <a:ea typeface="Century Gothic"/>
          <a:cs typeface="Century Gothic"/>
          <a:sym typeface="Century Gothic"/>
        </a:defRPr>
      </a:lvl2pPr>
      <a:lvl3pPr marL="1371600" marR="0" indent="-274320" algn="l" defTabSz="1097280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ClrTx/>
        <a:buSzPct val="100000"/>
        <a:buFont typeface="Arial"/>
        <a:buChar char="•"/>
        <a:tabLst/>
        <a:defRPr sz="1920" b="0" i="0" u="none" strike="noStrike" cap="none" spc="0" baseline="0">
          <a:ln>
            <a:noFill/>
          </a:ln>
          <a:solidFill>
            <a:srgbClr val="000000"/>
          </a:solidFill>
          <a:uFillTx/>
          <a:latin typeface="Century Gothic"/>
          <a:ea typeface="Century Gothic"/>
          <a:cs typeface="Century Gothic"/>
          <a:sym typeface="Century Gothic"/>
        </a:defRPr>
      </a:lvl3pPr>
      <a:lvl4pPr marL="1920240" marR="0" indent="-274320" algn="l" defTabSz="1097280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ClrTx/>
        <a:buSzPct val="100000"/>
        <a:buFont typeface="Arial"/>
        <a:buChar char="•"/>
        <a:tabLst/>
        <a:defRPr sz="1920" b="0" i="0" u="none" strike="noStrike" cap="none" spc="0" baseline="0">
          <a:ln>
            <a:noFill/>
          </a:ln>
          <a:solidFill>
            <a:srgbClr val="000000"/>
          </a:solidFill>
          <a:uFillTx/>
          <a:latin typeface="Century Gothic"/>
          <a:ea typeface="Century Gothic"/>
          <a:cs typeface="Century Gothic"/>
          <a:sym typeface="Century Gothic"/>
        </a:defRPr>
      </a:lvl4pPr>
      <a:lvl5pPr marL="2468880" marR="0" indent="-274320" algn="l" defTabSz="1097280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ClrTx/>
        <a:buSzPct val="100000"/>
        <a:buFont typeface="Arial"/>
        <a:buChar char="•"/>
        <a:tabLst/>
        <a:defRPr sz="1920" b="0" i="0" u="none" strike="noStrike" cap="none" spc="0" baseline="0">
          <a:ln>
            <a:noFill/>
          </a:ln>
          <a:solidFill>
            <a:srgbClr val="000000"/>
          </a:solidFill>
          <a:uFillTx/>
          <a:latin typeface="Century Gothic"/>
          <a:ea typeface="Century Gothic"/>
          <a:cs typeface="Century Gothic"/>
          <a:sym typeface="Century Gothic"/>
        </a:defRPr>
      </a:lvl5pPr>
      <a:lvl6pPr marL="2987040" marR="0" indent="-243840" algn="l" defTabSz="1097280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ClrTx/>
        <a:buSzPct val="100000"/>
        <a:buFont typeface="Arial"/>
        <a:buChar char="•"/>
        <a:tabLst/>
        <a:defRPr sz="1920" b="0" i="0" u="none" strike="noStrike" cap="none" spc="0" baseline="0">
          <a:ln>
            <a:noFill/>
          </a:ln>
          <a:solidFill>
            <a:srgbClr val="000000"/>
          </a:solidFill>
          <a:uFillTx/>
          <a:latin typeface="Century Gothic"/>
          <a:ea typeface="Century Gothic"/>
          <a:cs typeface="Century Gothic"/>
          <a:sym typeface="Century Gothic"/>
        </a:defRPr>
      </a:lvl6pPr>
      <a:lvl7pPr marL="3535680" marR="0" indent="-243840" algn="l" defTabSz="1097280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ClrTx/>
        <a:buSzPct val="100000"/>
        <a:buFont typeface="Arial"/>
        <a:buChar char="•"/>
        <a:tabLst/>
        <a:defRPr sz="1920" b="0" i="0" u="none" strike="noStrike" cap="none" spc="0" baseline="0">
          <a:ln>
            <a:noFill/>
          </a:ln>
          <a:solidFill>
            <a:srgbClr val="000000"/>
          </a:solidFill>
          <a:uFillTx/>
          <a:latin typeface="Century Gothic"/>
          <a:ea typeface="Century Gothic"/>
          <a:cs typeface="Century Gothic"/>
          <a:sym typeface="Century Gothic"/>
        </a:defRPr>
      </a:lvl7pPr>
      <a:lvl8pPr marL="4084320" marR="0" indent="-243840" algn="l" defTabSz="1097280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ClrTx/>
        <a:buSzPct val="100000"/>
        <a:buFont typeface="Arial"/>
        <a:buChar char="•"/>
        <a:tabLst/>
        <a:defRPr sz="1920" b="0" i="0" u="none" strike="noStrike" cap="none" spc="0" baseline="0">
          <a:ln>
            <a:noFill/>
          </a:ln>
          <a:solidFill>
            <a:srgbClr val="000000"/>
          </a:solidFill>
          <a:uFillTx/>
          <a:latin typeface="Century Gothic"/>
          <a:ea typeface="Century Gothic"/>
          <a:cs typeface="Century Gothic"/>
          <a:sym typeface="Century Gothic"/>
        </a:defRPr>
      </a:lvl8pPr>
      <a:lvl9pPr marL="4632960" marR="0" indent="-243840" algn="l" defTabSz="1097280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ClrTx/>
        <a:buSzPct val="100000"/>
        <a:buFont typeface="Arial"/>
        <a:buChar char="•"/>
        <a:tabLst/>
        <a:defRPr sz="1920" b="0" i="0" u="none" strike="noStrike" cap="none" spc="0" baseline="0">
          <a:ln>
            <a:noFill/>
          </a:ln>
          <a:solidFill>
            <a:srgbClr val="000000"/>
          </a:solidFill>
          <a:uFillTx/>
          <a:latin typeface="Century Gothic"/>
          <a:ea typeface="Century Gothic"/>
          <a:cs typeface="Century Gothic"/>
          <a:sym typeface="Century Gothic"/>
        </a:defRPr>
      </a:lvl9pPr>
    </p:bodyStyle>
    <p:otherStyle>
      <a:lvl1pPr marL="0" marR="0" indent="0" algn="r" defTabSz="109728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4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entury Gothic"/>
        </a:defRPr>
      </a:lvl1pPr>
      <a:lvl2pPr marL="0" marR="0" indent="0" algn="r" defTabSz="109728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4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entury Gothic"/>
        </a:defRPr>
      </a:lvl2pPr>
      <a:lvl3pPr marL="0" marR="0" indent="0" algn="r" defTabSz="109728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4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entury Gothic"/>
        </a:defRPr>
      </a:lvl3pPr>
      <a:lvl4pPr marL="0" marR="0" indent="0" algn="r" defTabSz="109728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4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entury Gothic"/>
        </a:defRPr>
      </a:lvl4pPr>
      <a:lvl5pPr marL="0" marR="0" indent="0" algn="r" defTabSz="109728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4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entury Gothic"/>
        </a:defRPr>
      </a:lvl5pPr>
      <a:lvl6pPr marL="0" marR="0" indent="0" algn="r" defTabSz="109728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4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entury Gothic"/>
        </a:defRPr>
      </a:lvl6pPr>
      <a:lvl7pPr marL="0" marR="0" indent="0" algn="r" defTabSz="109728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4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entury Gothic"/>
        </a:defRPr>
      </a:lvl7pPr>
      <a:lvl8pPr marL="0" marR="0" indent="0" algn="r" defTabSz="109728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4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entury Gothic"/>
        </a:defRPr>
      </a:lvl8pPr>
      <a:lvl9pPr marL="0" marR="0" indent="0" algn="r" defTabSz="109728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4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entury Gothic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e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46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5.jpeg"/><Relationship Id="rId5" Type="http://schemas.openxmlformats.org/officeDocument/2006/relationships/image" Target="../media/image44.emf"/><Relationship Id="rId10" Type="http://schemas.openxmlformats.org/officeDocument/2006/relationships/image" Target="../media/image49.jpeg"/><Relationship Id="rId4" Type="http://schemas.openxmlformats.org/officeDocument/2006/relationships/oleObject" Target="../embeddings/oleObject6.bin"/><Relationship Id="rId9" Type="http://schemas.openxmlformats.org/officeDocument/2006/relationships/image" Target="../media/image48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jpeg"/><Relationship Id="rId13" Type="http://schemas.openxmlformats.org/officeDocument/2006/relationships/image" Target="../media/image64.png"/><Relationship Id="rId18" Type="http://schemas.openxmlformats.org/officeDocument/2006/relationships/image" Target="../media/image69.png"/><Relationship Id="rId3" Type="http://schemas.openxmlformats.org/officeDocument/2006/relationships/image" Target="../media/image54.png"/><Relationship Id="rId7" Type="http://schemas.openxmlformats.org/officeDocument/2006/relationships/image" Target="../media/image58.jpeg"/><Relationship Id="rId12" Type="http://schemas.openxmlformats.org/officeDocument/2006/relationships/image" Target="../media/image63.jpeg"/><Relationship Id="rId17" Type="http://schemas.openxmlformats.org/officeDocument/2006/relationships/image" Target="../media/image68.png"/><Relationship Id="rId2" Type="http://schemas.openxmlformats.org/officeDocument/2006/relationships/image" Target="../media/image53.png"/><Relationship Id="rId16" Type="http://schemas.openxmlformats.org/officeDocument/2006/relationships/image" Target="../media/image67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7.jpeg"/><Relationship Id="rId11" Type="http://schemas.openxmlformats.org/officeDocument/2006/relationships/image" Target="../media/image62.jpeg"/><Relationship Id="rId5" Type="http://schemas.openxmlformats.org/officeDocument/2006/relationships/image" Target="../media/image56.png"/><Relationship Id="rId15" Type="http://schemas.openxmlformats.org/officeDocument/2006/relationships/image" Target="../media/image66.png"/><Relationship Id="rId10" Type="http://schemas.openxmlformats.org/officeDocument/2006/relationships/image" Target="../media/image61.png"/><Relationship Id="rId19" Type="http://schemas.openxmlformats.org/officeDocument/2006/relationships/image" Target="../media/image70.png"/><Relationship Id="rId4" Type="http://schemas.openxmlformats.org/officeDocument/2006/relationships/image" Target="../media/image55.png"/><Relationship Id="rId9" Type="http://schemas.openxmlformats.org/officeDocument/2006/relationships/image" Target="../media/image60.png"/><Relationship Id="rId14" Type="http://schemas.openxmlformats.org/officeDocument/2006/relationships/image" Target="../media/image65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13" Type="http://schemas.openxmlformats.org/officeDocument/2006/relationships/image" Target="../media/image82.png"/><Relationship Id="rId18" Type="http://schemas.openxmlformats.org/officeDocument/2006/relationships/image" Target="../media/image87.png"/><Relationship Id="rId3" Type="http://schemas.openxmlformats.org/officeDocument/2006/relationships/image" Target="../media/image72.png"/><Relationship Id="rId7" Type="http://schemas.openxmlformats.org/officeDocument/2006/relationships/image" Target="../media/image76.jpeg"/><Relationship Id="rId12" Type="http://schemas.openxmlformats.org/officeDocument/2006/relationships/image" Target="../media/image81.png"/><Relationship Id="rId17" Type="http://schemas.openxmlformats.org/officeDocument/2006/relationships/image" Target="../media/image86.png"/><Relationship Id="rId2" Type="http://schemas.openxmlformats.org/officeDocument/2006/relationships/image" Target="../media/image71.jpeg"/><Relationship Id="rId16" Type="http://schemas.openxmlformats.org/officeDocument/2006/relationships/image" Target="../media/image8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5.jpeg"/><Relationship Id="rId11" Type="http://schemas.openxmlformats.org/officeDocument/2006/relationships/image" Target="../media/image80.jpeg"/><Relationship Id="rId5" Type="http://schemas.openxmlformats.org/officeDocument/2006/relationships/image" Target="../media/image74.jpeg"/><Relationship Id="rId15" Type="http://schemas.openxmlformats.org/officeDocument/2006/relationships/image" Target="../media/image84.png"/><Relationship Id="rId10" Type="http://schemas.openxmlformats.org/officeDocument/2006/relationships/image" Target="../media/image79.png"/><Relationship Id="rId4" Type="http://schemas.openxmlformats.org/officeDocument/2006/relationships/image" Target="../media/image73.jpeg"/><Relationship Id="rId9" Type="http://schemas.openxmlformats.org/officeDocument/2006/relationships/image" Target="../media/image78.png"/><Relationship Id="rId14" Type="http://schemas.openxmlformats.org/officeDocument/2006/relationships/image" Target="../media/image8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13" Type="http://schemas.openxmlformats.org/officeDocument/2006/relationships/image" Target="../media/image99.png"/><Relationship Id="rId3" Type="http://schemas.openxmlformats.org/officeDocument/2006/relationships/image" Target="../media/image89.png"/><Relationship Id="rId7" Type="http://schemas.openxmlformats.org/officeDocument/2006/relationships/image" Target="../media/image93.png"/><Relationship Id="rId12" Type="http://schemas.openxmlformats.org/officeDocument/2006/relationships/image" Target="../media/image98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2.png"/><Relationship Id="rId11" Type="http://schemas.openxmlformats.org/officeDocument/2006/relationships/image" Target="../media/image97.png"/><Relationship Id="rId5" Type="http://schemas.openxmlformats.org/officeDocument/2006/relationships/image" Target="../media/image91.png"/><Relationship Id="rId10" Type="http://schemas.openxmlformats.org/officeDocument/2006/relationships/image" Target="../media/image96.png"/><Relationship Id="rId4" Type="http://schemas.openxmlformats.org/officeDocument/2006/relationships/image" Target="../media/image90.png"/><Relationship Id="rId9" Type="http://schemas.openxmlformats.org/officeDocument/2006/relationships/image" Target="../media/image95.png"/><Relationship Id="rId14" Type="http://schemas.openxmlformats.org/officeDocument/2006/relationships/image" Target="../media/image100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hyperlink" Target="mailto:Trivikram.Shenvi@jsw.in" TargetMode="Externa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jpeg"/><Relationship Id="rId7" Type="http://schemas.openxmlformats.org/officeDocument/2006/relationships/image" Target="../media/image11.jpeg"/><Relationship Id="rId12" Type="http://schemas.openxmlformats.org/officeDocument/2006/relationships/image" Target="../media/image16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png"/><Relationship Id="rId11" Type="http://schemas.openxmlformats.org/officeDocument/2006/relationships/image" Target="../media/image15.jpeg"/><Relationship Id="rId5" Type="http://schemas.openxmlformats.org/officeDocument/2006/relationships/image" Target="../media/image9.jpe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10" Type="http://schemas.openxmlformats.org/officeDocument/2006/relationships/image" Target="../media/image26.jpeg"/><Relationship Id="rId4" Type="http://schemas.openxmlformats.org/officeDocument/2006/relationships/image" Target="../media/image20.png"/><Relationship Id="rId9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13" Type="http://schemas.openxmlformats.org/officeDocument/2006/relationships/image" Target="../media/image33.jpeg"/><Relationship Id="rId3" Type="http://schemas.openxmlformats.org/officeDocument/2006/relationships/tags" Target="../tags/tag12.xml"/><Relationship Id="rId7" Type="http://schemas.openxmlformats.org/officeDocument/2006/relationships/oleObject" Target="../embeddings/oleObject5.bin"/><Relationship Id="rId12" Type="http://schemas.openxmlformats.org/officeDocument/2006/relationships/image" Target="../media/image32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31.jpeg"/><Relationship Id="rId5" Type="http://schemas.openxmlformats.org/officeDocument/2006/relationships/tags" Target="../tags/tag14.xml"/><Relationship Id="rId10" Type="http://schemas.openxmlformats.org/officeDocument/2006/relationships/image" Target="../media/image30.jpeg"/><Relationship Id="rId4" Type="http://schemas.openxmlformats.org/officeDocument/2006/relationships/tags" Target="../tags/tag13.xml"/><Relationship Id="rId9" Type="http://schemas.openxmlformats.org/officeDocument/2006/relationships/image" Target="../media/image29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Shape 130"/>
          <p:cNvSpPr/>
          <p:nvPr/>
        </p:nvSpPr>
        <p:spPr>
          <a:xfrm>
            <a:off x="4306805" y="5878026"/>
            <a:ext cx="5417554" cy="5096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4862" tIns="54862" rIns="54862" bIns="54862">
            <a:spAutoFit/>
          </a:bodyPr>
          <a:lstStyle>
            <a:lvl1pPr algn="ctr">
              <a:defRPr>
                <a:solidFill>
                  <a:srgbClr val="00355C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endParaRPr sz="2592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32" name="Shape 132"/>
          <p:cNvSpPr/>
          <p:nvPr/>
        </p:nvSpPr>
        <p:spPr>
          <a:xfrm>
            <a:off x="2351176" y="6450902"/>
            <a:ext cx="9820658" cy="6647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4862" tIns="54862" rIns="54862" bIns="54862">
            <a:spAutoFit/>
          </a:bodyPr>
          <a:lstStyle>
            <a:lvl1pPr algn="ctr">
              <a:defRPr sz="3200" b="1">
                <a:solidFill>
                  <a:srgbClr val="00355C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rPr lang="en-US" sz="3600" dirty="0" smtClean="0">
                <a:solidFill>
                  <a:schemeClr val="accent5">
                    <a:lumMod val="75000"/>
                  </a:schemeClr>
                </a:solidFill>
              </a:rPr>
              <a:t>Corporate Profile</a:t>
            </a:r>
            <a:endParaRPr sz="3600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1176" y="1551666"/>
            <a:ext cx="9780517" cy="3335644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C5149F0-75A5-4141-AAE3-49E215B66B35}" type="slidenum">
              <a:rPr lang="en-US" altLang="en-US" smtClean="0"/>
              <a:pPr>
                <a:defRPr/>
              </a:pPr>
              <a:t>10</a:t>
            </a:fld>
            <a:endParaRPr lang="en-US" alt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7178" y="1280454"/>
            <a:ext cx="4538723" cy="348435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5873" y="1359282"/>
            <a:ext cx="4223210" cy="423747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26924" y="2379590"/>
            <a:ext cx="4530485" cy="348435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36598" y="3981886"/>
            <a:ext cx="4529888" cy="3501122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215873" y="6695895"/>
            <a:ext cx="8006955" cy="1200325"/>
          </a:xfrm>
          <a:prstGeom prst="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4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PSC Cement &amp; GGBS from all our 3 plants have been awarded the Prestigious CII Green Products &amp;</a:t>
            </a:r>
            <a:r>
              <a:rPr kumimoji="0" lang="en-US" sz="2400" b="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 Services Council “CERTIFIED GREEN PRODUCT” certification</a:t>
            </a:r>
            <a:endParaRPr kumimoji="0" lang="en-US" sz="2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2994013" y="210023"/>
            <a:ext cx="9893216" cy="59093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wrap="square" lIns="109728" tIns="109728" rIns="109728" bIns="109728" anchor="ctr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kern="1200">
                <a:solidFill>
                  <a:schemeClr val="tx1"/>
                </a:solidFill>
                <a:latin typeface="Calibri" pitchFamily="34" charset="0"/>
                <a:ea typeface="+mj-ea"/>
                <a:cs typeface="+mj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>
              <a:defRPr/>
            </a:pPr>
            <a:r>
              <a:rPr lang="en-US" sz="2400" dirty="0" smtClean="0">
                <a:solidFill>
                  <a:prstClr val="black"/>
                </a:solidFill>
                <a:latin typeface="Century Gothic" panose="020B0502020202020204" pitchFamily="34" charset="0"/>
              </a:rPr>
              <a:t>Green Pro Award</a:t>
            </a:r>
            <a:endParaRPr lang="en-US" sz="2400" dirty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2881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906" y="1906"/>
          <a:ext cx="1904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72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06" y="1906"/>
                        <a:ext cx="1904" cy="19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3132558" y="58891"/>
            <a:ext cx="9893216" cy="9602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wrap="square" lIns="109728" tIns="109728" rIns="109728" bIns="109728" anchor="ctr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kern="1200">
                <a:solidFill>
                  <a:schemeClr val="tx1"/>
                </a:solidFill>
                <a:latin typeface="Calibri" pitchFamily="34" charset="0"/>
                <a:ea typeface="+mj-ea"/>
                <a:cs typeface="+mj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>
              <a:defRPr/>
            </a:pPr>
            <a:r>
              <a:rPr lang="en-US" sz="2400" dirty="0" smtClean="0">
                <a:solidFill>
                  <a:prstClr val="black"/>
                </a:solidFill>
                <a:latin typeface="Century Gothic" panose="020B0502020202020204" pitchFamily="34" charset="0"/>
              </a:rPr>
              <a:t>PSC </a:t>
            </a:r>
            <a:r>
              <a:rPr lang="en-US" sz="2400" dirty="0">
                <a:solidFill>
                  <a:prstClr val="black"/>
                </a:solidFill>
                <a:latin typeface="Century Gothic" panose="020B0502020202020204" pitchFamily="34" charset="0"/>
              </a:rPr>
              <a:t>can be used in all applications right from foundation to plastering</a:t>
            </a:r>
          </a:p>
        </p:txBody>
      </p:sp>
      <p:pic>
        <p:nvPicPr>
          <p:cNvPr id="50383" name="Picture 207" descr="C:\Users\JSW\Downloads\shutterstock_219437380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58230" y="5037476"/>
            <a:ext cx="4104472" cy="273079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0386" name="Picture 210" descr="C:\Users\JSW\Downloads\shutterstock_262301120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409060" y="5037476"/>
            <a:ext cx="4408694" cy="273079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0387" name="Picture 211" descr="C:\Users\JSW\Downloads\shutterstock_335201021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795882" y="1556816"/>
            <a:ext cx="4405595" cy="29113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0389" name="Picture 213" descr="Image result for flyover bridge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68531" y="1552964"/>
            <a:ext cx="4408694" cy="291335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0384" name="Picture 208" descr="C:\Users\JSW\Downloads\shutterstock_462881608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9545352" y="1556816"/>
            <a:ext cx="4810908" cy="290950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54065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C5149F0-75A5-4141-AAE3-49E215B66B35}" type="slidenum">
              <a:rPr lang="en-US" altLang="en-US" smtClean="0"/>
              <a:pPr>
                <a:defRPr/>
              </a:pPr>
              <a:t>12</a:t>
            </a:fld>
            <a:endParaRPr lang="en-US" alt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03964" y="1218542"/>
            <a:ext cx="11583479" cy="6558957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948152" y="495890"/>
            <a:ext cx="5472007" cy="58477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32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ea typeface="+mj-ea"/>
                <a:cs typeface="+mj-cs"/>
                <a:sym typeface="Calibri"/>
              </a:rPr>
              <a:t>JSW Cement Product Attributes</a:t>
            </a:r>
            <a:endParaRPr kumimoji="0" lang="en-US" sz="32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ea typeface="+mj-ea"/>
              <a:cs typeface="+mj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16289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C5149F0-75A5-4141-AAE3-49E215B66B35}" type="slidenum">
              <a:rPr lang="en-US" altLang="en-US" smtClean="0"/>
              <a:pPr>
                <a:defRPr/>
              </a:pPr>
              <a:t>13</a:t>
            </a:fld>
            <a:endParaRPr lang="en-US" alt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42052" y="1361584"/>
            <a:ext cx="6065128" cy="604821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8" name="Title 1"/>
          <p:cNvSpPr txBox="1">
            <a:spLocks/>
          </p:cNvSpPr>
          <p:nvPr/>
        </p:nvSpPr>
        <p:spPr>
          <a:xfrm>
            <a:off x="2994013" y="210023"/>
            <a:ext cx="9893216" cy="59093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wrap="square" lIns="109728" tIns="109728" rIns="109728" bIns="109728" anchor="ctr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kern="1200">
                <a:solidFill>
                  <a:schemeClr val="tx1"/>
                </a:solidFill>
                <a:latin typeface="Calibri" pitchFamily="34" charset="0"/>
                <a:ea typeface="+mj-ea"/>
                <a:cs typeface="+mj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>
              <a:defRPr/>
            </a:pPr>
            <a:r>
              <a:rPr lang="en-US" sz="2400" dirty="0" smtClean="0">
                <a:solidFill>
                  <a:prstClr val="black"/>
                </a:solidFill>
                <a:latin typeface="Century Gothic" panose="020B0502020202020204" pitchFamily="34" charset="0"/>
              </a:rPr>
              <a:t>GGBS Consumption areas &amp; applications</a:t>
            </a:r>
            <a:endParaRPr lang="en-US" sz="2400" dirty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04732" y="1361584"/>
            <a:ext cx="7367668" cy="3293205"/>
          </a:xfrm>
          <a:prstGeom prst="rect">
            <a:avLst/>
          </a:prstGeom>
          <a:noFill/>
          <a:ln w="12700" cap="flat">
            <a:solidFill>
              <a:schemeClr val="accent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algn="just"/>
            <a:r>
              <a:rPr lang="en-IN" sz="1600" dirty="0"/>
              <a:t>Globally, GGBS is a well established and </a:t>
            </a:r>
            <a:r>
              <a:rPr lang="en-IN" sz="1600" dirty="0" smtClean="0"/>
              <a:t>proven </a:t>
            </a:r>
            <a:r>
              <a:rPr lang="en-IN" sz="1600" dirty="0"/>
              <a:t>Cement Replacement in Concrete mixes and have replaced </a:t>
            </a:r>
            <a:r>
              <a:rPr lang="en-IN" sz="1600" dirty="0" err="1"/>
              <a:t>upto</a:t>
            </a:r>
            <a:r>
              <a:rPr lang="en-IN" sz="1600" dirty="0"/>
              <a:t> 8</a:t>
            </a:r>
            <a:r>
              <a:rPr lang="en-IN" sz="1600" dirty="0" smtClean="0"/>
              <a:t>0</a:t>
            </a:r>
            <a:r>
              <a:rPr lang="en-IN" sz="1600" dirty="0"/>
              <a:t>% Cement in certain applications.</a:t>
            </a:r>
          </a:p>
          <a:p>
            <a:pPr algn="just"/>
            <a:endParaRPr lang="en-IN" sz="1600" dirty="0"/>
          </a:p>
          <a:p>
            <a:pPr algn="just"/>
            <a:r>
              <a:rPr lang="en-IN" sz="1600" dirty="0" smtClean="0"/>
              <a:t>GGBS </a:t>
            </a:r>
            <a:r>
              <a:rPr lang="en-IN" sz="1600" dirty="0"/>
              <a:t>is technically a more accepted Supplementary Cementitious Material (SCM) in comparison to other alternatives by virtue of its consistency in quality- GGBS raw material generation is from a high process controlled, Quality Intensive Production of Steel</a:t>
            </a:r>
          </a:p>
          <a:p>
            <a:pPr marL="0" marR="0" indent="0" algn="just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IN" sz="1600" b="0" i="0" u="none" strike="noStrike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FillTx/>
              <a:sym typeface="Calibri"/>
            </a:endParaRPr>
          </a:p>
          <a:p>
            <a:pPr marL="0" marR="0" indent="0" algn="just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IN" sz="1600" dirty="0" smtClean="0"/>
              <a:t>Over the last few years, JSW GGBS has established its presence in almost all named commercial RMCs and also at onsite batching units for major prestigious projects. </a:t>
            </a:r>
          </a:p>
          <a:p>
            <a:pPr marL="0" marR="0" indent="0" algn="just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IN" sz="1600" dirty="0"/>
          </a:p>
          <a:p>
            <a:pPr marL="0" marR="0" indent="0" algn="just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IN" sz="1600" dirty="0" smtClean="0"/>
              <a:t>We have also exported GGBS to middle east region for specific projects and continuously seek opportunities to expand the reach of GGBS</a:t>
            </a:r>
            <a:endParaRPr kumimoji="0" lang="en-IN" sz="1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sym typeface="Calibri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2289" y="4773831"/>
            <a:ext cx="6264553" cy="2635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3733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C5149F0-75A5-4141-AAE3-49E215B66B35}" type="slidenum">
              <a:rPr lang="en-US" altLang="en-US" smtClean="0"/>
              <a:pPr>
                <a:defRPr/>
              </a:pPr>
              <a:t>14</a:t>
            </a:fld>
            <a:endParaRPr lang="en-US" altLang="en-US"/>
          </a:p>
        </p:txBody>
      </p:sp>
      <p:sp>
        <p:nvSpPr>
          <p:cNvPr id="4" name="TextBox 3"/>
          <p:cNvSpPr txBox="1"/>
          <p:nvPr/>
        </p:nvSpPr>
        <p:spPr>
          <a:xfrm>
            <a:off x="2948152" y="495890"/>
            <a:ext cx="9756834" cy="58477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32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ea typeface="+mj-ea"/>
                <a:cs typeface="+mj-cs"/>
                <a:sym typeface="Calibri"/>
              </a:rPr>
              <a:t>Project Specifications/ </a:t>
            </a:r>
            <a:r>
              <a:rPr kumimoji="0" lang="en-US" sz="3200" b="1" i="0" u="none" strike="noStrike" cap="none" spc="0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uFillTx/>
                <a:ea typeface="+mj-ea"/>
                <a:cs typeface="+mj-cs"/>
                <a:sym typeface="Calibri"/>
              </a:rPr>
              <a:t>Codal</a:t>
            </a:r>
            <a:r>
              <a:rPr kumimoji="0" lang="en-US" sz="32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ea typeface="+mj-ea"/>
                <a:cs typeface="+mj-cs"/>
                <a:sym typeface="Calibri"/>
              </a:rPr>
              <a:t> Provisions on use of GGBS</a:t>
            </a:r>
            <a:endParaRPr kumimoji="0" lang="en-US" sz="32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ea typeface="+mj-ea"/>
              <a:cs typeface="+mj-cs"/>
              <a:sym typeface="Calibri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213958" y="1222274"/>
            <a:ext cx="2811517" cy="1708156"/>
          </a:xfrm>
          <a:prstGeom prst="rect">
            <a:avLst/>
          </a:prstGeom>
          <a:gradFill flip="none" rotWithShape="1">
            <a:gsLst>
              <a:gs pos="0">
                <a:schemeClr val="lt1">
                  <a:shade val="30000"/>
                  <a:satMod val="115000"/>
                </a:schemeClr>
              </a:gs>
              <a:gs pos="50000">
                <a:schemeClr val="lt1">
                  <a:shade val="67500"/>
                  <a:satMod val="115000"/>
                </a:schemeClr>
              </a:gs>
              <a:gs pos="100000">
                <a:schemeClr val="lt1">
                  <a:shade val="100000"/>
                  <a:satMod val="115000"/>
                </a:schemeClr>
              </a:gs>
            </a:gsLst>
            <a:lin ang="16200000" scaled="1"/>
            <a:tileRect/>
          </a:gradFill>
          <a:ln/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1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IS:16714-</a:t>
            </a:r>
            <a:r>
              <a:rPr kumimoji="0" lang="en-US" sz="2100" b="1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 Ground Granulated Blast Furnace Slag for use in Cement, Mortar &amp; Concrete- Specifications</a:t>
            </a:r>
            <a:endParaRPr kumimoji="0" lang="en-US" sz="21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226842" y="3072043"/>
            <a:ext cx="2811517" cy="1061825"/>
          </a:xfrm>
          <a:prstGeom prst="rect">
            <a:avLst/>
          </a:prstGeom>
          <a:gradFill flip="none" rotWithShape="1">
            <a:gsLst>
              <a:gs pos="0">
                <a:schemeClr val="lt1">
                  <a:shade val="30000"/>
                  <a:satMod val="115000"/>
                </a:schemeClr>
              </a:gs>
              <a:gs pos="50000">
                <a:schemeClr val="lt1">
                  <a:shade val="67500"/>
                  <a:satMod val="115000"/>
                </a:schemeClr>
              </a:gs>
              <a:gs pos="100000">
                <a:schemeClr val="lt1">
                  <a:shade val="100000"/>
                  <a:satMod val="115000"/>
                </a:schemeClr>
              </a:gs>
            </a:gsLst>
            <a:lin ang="16200000" scaled="1"/>
            <a:tileRect/>
          </a:gradFill>
          <a:ln/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1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IS:456-</a:t>
            </a:r>
            <a:r>
              <a:rPr kumimoji="0" lang="en-US" sz="2100" b="1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 Code of Practice- Plain &amp; Reinforced Concrete</a:t>
            </a:r>
            <a:endParaRPr kumimoji="0" lang="en-US" sz="21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0515614" y="4551829"/>
            <a:ext cx="2811517" cy="2354487"/>
          </a:xfrm>
          <a:prstGeom prst="rect">
            <a:avLst/>
          </a:prstGeom>
          <a:gradFill flip="none" rotWithShape="1">
            <a:gsLst>
              <a:gs pos="0">
                <a:schemeClr val="lt1">
                  <a:shade val="30000"/>
                  <a:satMod val="115000"/>
                </a:schemeClr>
              </a:gs>
              <a:gs pos="50000">
                <a:schemeClr val="lt1">
                  <a:shade val="67500"/>
                  <a:satMod val="115000"/>
                </a:schemeClr>
              </a:gs>
              <a:gs pos="100000">
                <a:schemeClr val="lt1">
                  <a:shade val="100000"/>
                  <a:satMod val="115000"/>
                </a:schemeClr>
              </a:gs>
            </a:gsLst>
            <a:lin ang="16200000" scaled="1"/>
            <a:tileRect/>
          </a:gradFill>
          <a:ln/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2100" b="1" dirty="0" smtClean="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Atomic Energy Regulatory Board- Materials of Constructions for Civil </a:t>
            </a:r>
            <a:r>
              <a:rPr lang="en-US" sz="2100" b="1" dirty="0" err="1" smtClean="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Engg</a:t>
            </a:r>
            <a:r>
              <a:rPr lang="en-US" sz="2100" b="1" dirty="0" smtClean="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. Structures important to safety of Nuclear Facilities</a:t>
            </a:r>
            <a:endParaRPr kumimoji="0" lang="en-US" sz="21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213951" y="4261130"/>
            <a:ext cx="2811517" cy="1061825"/>
          </a:xfrm>
          <a:prstGeom prst="rect">
            <a:avLst/>
          </a:prstGeom>
          <a:gradFill flip="none" rotWithShape="1">
            <a:gsLst>
              <a:gs pos="0">
                <a:schemeClr val="lt1">
                  <a:shade val="30000"/>
                  <a:satMod val="115000"/>
                </a:schemeClr>
              </a:gs>
              <a:gs pos="50000">
                <a:schemeClr val="lt1">
                  <a:shade val="67500"/>
                  <a:satMod val="115000"/>
                </a:schemeClr>
              </a:gs>
              <a:gs pos="100000">
                <a:schemeClr val="lt1">
                  <a:shade val="100000"/>
                  <a:satMod val="115000"/>
                </a:schemeClr>
              </a:gs>
            </a:gsLst>
            <a:lin ang="16200000" scaled="1"/>
            <a:tileRect/>
          </a:gradFill>
          <a:ln/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1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Metro Rail Projects- Mumbai, Bangalore, Chennai, Pune, Nagpur </a:t>
            </a:r>
            <a:endParaRPr kumimoji="0" lang="en-US" sz="21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314493" y="1222274"/>
            <a:ext cx="2811517" cy="1384990"/>
          </a:xfrm>
          <a:prstGeom prst="rect">
            <a:avLst/>
          </a:prstGeom>
          <a:gradFill flip="none" rotWithShape="1">
            <a:gsLst>
              <a:gs pos="0">
                <a:schemeClr val="lt1">
                  <a:shade val="30000"/>
                  <a:satMod val="115000"/>
                </a:schemeClr>
              </a:gs>
              <a:gs pos="50000">
                <a:schemeClr val="lt1">
                  <a:shade val="67500"/>
                  <a:satMod val="115000"/>
                </a:schemeClr>
              </a:gs>
              <a:gs pos="100000">
                <a:schemeClr val="lt1">
                  <a:shade val="100000"/>
                  <a:satMod val="115000"/>
                </a:schemeClr>
              </a:gs>
            </a:gsLst>
            <a:lin ang="16200000" scaled="1"/>
            <a:tileRect/>
          </a:gradFill>
          <a:ln/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1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IRC 15- 2017 Code of Practice for Construction of Jointed Concrete Pavements</a:t>
            </a:r>
            <a:endParaRPr kumimoji="0" lang="en-US" sz="21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314502" y="4227209"/>
            <a:ext cx="2811517" cy="1708156"/>
          </a:xfrm>
          <a:prstGeom prst="rect">
            <a:avLst/>
          </a:prstGeom>
          <a:gradFill flip="none" rotWithShape="1">
            <a:gsLst>
              <a:gs pos="0">
                <a:schemeClr val="lt1">
                  <a:shade val="30000"/>
                  <a:satMod val="115000"/>
                </a:schemeClr>
              </a:gs>
              <a:gs pos="50000">
                <a:schemeClr val="lt1">
                  <a:shade val="67500"/>
                  <a:satMod val="115000"/>
                </a:schemeClr>
              </a:gs>
              <a:gs pos="100000">
                <a:schemeClr val="lt1">
                  <a:shade val="100000"/>
                  <a:satMod val="115000"/>
                </a:schemeClr>
              </a:gs>
            </a:gsLst>
            <a:lin ang="16200000" scaled="1"/>
            <a:tileRect/>
          </a:gradFill>
          <a:ln/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1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IRC 44- 2008 Guidelines for Cement Concrete Mix Design for Pavement</a:t>
            </a:r>
            <a:r>
              <a:rPr lang="en-US" sz="2100" b="1" dirty="0" smtClean="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s (Second Revision)</a:t>
            </a:r>
            <a:endParaRPr kumimoji="0" lang="en-US" sz="21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201034" y="6422172"/>
            <a:ext cx="2811517" cy="1708156"/>
          </a:xfrm>
          <a:prstGeom prst="rect">
            <a:avLst/>
          </a:prstGeom>
          <a:gradFill flip="none" rotWithShape="1">
            <a:gsLst>
              <a:gs pos="0">
                <a:schemeClr val="lt1">
                  <a:shade val="30000"/>
                  <a:satMod val="115000"/>
                </a:schemeClr>
              </a:gs>
              <a:gs pos="50000">
                <a:schemeClr val="lt1">
                  <a:shade val="67500"/>
                  <a:satMod val="115000"/>
                </a:schemeClr>
              </a:gs>
              <a:gs pos="100000">
                <a:schemeClr val="lt1">
                  <a:shade val="100000"/>
                  <a:satMod val="115000"/>
                </a:schemeClr>
              </a:gs>
            </a:gsLst>
            <a:lin ang="16200000" scaled="1"/>
            <a:tileRect/>
          </a:gradFill>
          <a:ln/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1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IRC SP 49- 2014 Guidelines for use of Dry Lean Concrete as Sub</a:t>
            </a:r>
            <a:r>
              <a:rPr kumimoji="0" lang="en-US" sz="2100" b="1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 Base for Rigid Pavements</a:t>
            </a:r>
            <a:endParaRPr kumimoji="0" lang="en-US" sz="21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14502" y="2886324"/>
            <a:ext cx="2811517" cy="1061825"/>
          </a:xfrm>
          <a:prstGeom prst="rect">
            <a:avLst/>
          </a:prstGeom>
          <a:gradFill flip="none" rotWithShape="1">
            <a:gsLst>
              <a:gs pos="0">
                <a:schemeClr val="lt1">
                  <a:shade val="30000"/>
                  <a:satMod val="115000"/>
                </a:schemeClr>
              </a:gs>
              <a:gs pos="50000">
                <a:schemeClr val="lt1">
                  <a:shade val="67500"/>
                  <a:satMod val="115000"/>
                </a:schemeClr>
              </a:gs>
              <a:gs pos="100000">
                <a:schemeClr val="lt1">
                  <a:shade val="100000"/>
                  <a:satMod val="115000"/>
                </a:schemeClr>
              </a:gs>
            </a:gsLst>
            <a:lin ang="16200000" scaled="1"/>
            <a:tileRect/>
          </a:gradFill>
          <a:ln/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1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IRC 112- 2011 Code of Practice for Concrete Road Bridges</a:t>
            </a:r>
            <a:endParaRPr kumimoji="0" lang="en-US" sz="21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0528514" y="2721823"/>
            <a:ext cx="2811517" cy="1708156"/>
          </a:xfrm>
          <a:prstGeom prst="rect">
            <a:avLst/>
          </a:prstGeom>
          <a:gradFill flip="none" rotWithShape="1">
            <a:gsLst>
              <a:gs pos="0">
                <a:schemeClr val="lt1">
                  <a:shade val="30000"/>
                  <a:satMod val="115000"/>
                </a:schemeClr>
              </a:gs>
              <a:gs pos="50000">
                <a:schemeClr val="lt1">
                  <a:shade val="67500"/>
                  <a:satMod val="115000"/>
                </a:schemeClr>
              </a:gs>
              <a:gs pos="100000">
                <a:schemeClr val="lt1">
                  <a:shade val="100000"/>
                  <a:satMod val="115000"/>
                </a:schemeClr>
              </a:gs>
            </a:gsLst>
            <a:lin ang="16200000" scaled="1"/>
            <a:tileRect/>
          </a:gradFill>
          <a:ln/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1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IRC 78- 2014 Standard Specifications &amp; Code of Practice for Road Bridges (Sec.</a:t>
            </a:r>
            <a:r>
              <a:rPr kumimoji="0" lang="en-US" sz="2100" b="1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 VII- Foundations &amp; Sub Str.)</a:t>
            </a:r>
            <a:endParaRPr kumimoji="0" lang="en-US" sz="21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402162" y="3087361"/>
            <a:ext cx="2811517" cy="1384990"/>
          </a:xfrm>
          <a:prstGeom prst="rect">
            <a:avLst/>
          </a:prstGeom>
          <a:gradFill flip="none" rotWithShape="1">
            <a:gsLst>
              <a:gs pos="0">
                <a:schemeClr val="lt1">
                  <a:shade val="30000"/>
                  <a:satMod val="115000"/>
                </a:schemeClr>
              </a:gs>
              <a:gs pos="50000">
                <a:schemeClr val="lt1">
                  <a:shade val="67500"/>
                  <a:satMod val="115000"/>
                </a:schemeClr>
              </a:gs>
              <a:gs pos="100000">
                <a:schemeClr val="lt1">
                  <a:shade val="100000"/>
                  <a:satMod val="115000"/>
                </a:schemeClr>
              </a:gs>
            </a:gsLst>
            <a:lin ang="16200000" scaled="1"/>
            <a:tileRect/>
          </a:gradFill>
          <a:ln/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1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IRC SP 70- 2005 Guidelines for the use of High Performance Concrete in Bridges</a:t>
            </a:r>
            <a:endParaRPr kumimoji="0" lang="en-US" sz="21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415062" y="1214390"/>
            <a:ext cx="2811517" cy="1708156"/>
          </a:xfrm>
          <a:prstGeom prst="rect">
            <a:avLst/>
          </a:prstGeom>
          <a:gradFill flip="none" rotWithShape="1">
            <a:gsLst>
              <a:gs pos="0">
                <a:schemeClr val="lt1">
                  <a:shade val="30000"/>
                  <a:satMod val="115000"/>
                </a:schemeClr>
              </a:gs>
              <a:gs pos="50000">
                <a:schemeClr val="lt1">
                  <a:shade val="67500"/>
                  <a:satMod val="115000"/>
                </a:schemeClr>
              </a:gs>
              <a:gs pos="100000">
                <a:schemeClr val="lt1">
                  <a:shade val="100000"/>
                  <a:satMod val="115000"/>
                </a:schemeClr>
              </a:gs>
            </a:gsLst>
            <a:lin ang="16200000" scaled="1"/>
            <a:tileRect/>
          </a:gradFill>
          <a:ln/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1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IRC SP- 46- 2013 Guidelines for Design &amp; Construction of </a:t>
            </a:r>
            <a:r>
              <a:rPr kumimoji="0" lang="en-US" sz="2100" b="1" i="0" u="none" strike="noStrike" cap="none" spc="0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Fibre</a:t>
            </a:r>
            <a:r>
              <a:rPr kumimoji="0" lang="en-US" sz="21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 Reinforced Concrete Pavements</a:t>
            </a:r>
            <a:endParaRPr kumimoji="0" lang="en-US" sz="21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314494" y="6214425"/>
            <a:ext cx="2811517" cy="1708156"/>
          </a:xfrm>
          <a:prstGeom prst="rect">
            <a:avLst/>
          </a:prstGeom>
          <a:gradFill flip="none" rotWithShape="1">
            <a:gsLst>
              <a:gs pos="0">
                <a:schemeClr val="lt1">
                  <a:shade val="30000"/>
                  <a:satMod val="115000"/>
                </a:schemeClr>
              </a:gs>
              <a:gs pos="50000">
                <a:schemeClr val="lt1">
                  <a:shade val="67500"/>
                  <a:satMod val="115000"/>
                </a:schemeClr>
              </a:gs>
              <a:gs pos="100000">
                <a:schemeClr val="lt1">
                  <a:shade val="100000"/>
                  <a:satMod val="115000"/>
                </a:schemeClr>
              </a:gs>
            </a:gsLst>
            <a:lin ang="16200000" scaled="1"/>
            <a:tileRect/>
          </a:gradFill>
          <a:ln/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1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IRC SP- 109- 2015 Guidelines</a:t>
            </a:r>
            <a:r>
              <a:rPr kumimoji="0" lang="en-US" sz="2100" b="1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 for Design &amp; Construction of Small Diameter Piles for Road Bridges</a:t>
            </a:r>
            <a:endParaRPr kumimoji="0" lang="en-US" sz="21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427954" y="4580457"/>
            <a:ext cx="2811517" cy="1708156"/>
          </a:xfrm>
          <a:prstGeom prst="rect">
            <a:avLst/>
          </a:prstGeom>
          <a:gradFill flip="none" rotWithShape="1">
            <a:gsLst>
              <a:gs pos="0">
                <a:schemeClr val="lt1">
                  <a:shade val="30000"/>
                  <a:satMod val="115000"/>
                </a:schemeClr>
              </a:gs>
              <a:gs pos="50000">
                <a:schemeClr val="lt1">
                  <a:shade val="67500"/>
                  <a:satMod val="115000"/>
                </a:schemeClr>
              </a:gs>
              <a:gs pos="100000">
                <a:schemeClr val="lt1">
                  <a:shade val="100000"/>
                  <a:satMod val="115000"/>
                </a:schemeClr>
              </a:gs>
            </a:gsLst>
            <a:lin ang="16200000" scaled="1"/>
            <a:tileRect/>
          </a:gradFill>
          <a:ln/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1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Indian Railway Standard-</a:t>
            </a:r>
            <a:r>
              <a:rPr kumimoji="0" lang="en-US" sz="2100" b="1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 Concrete Bridge Code- 2017: General Bridge Construction</a:t>
            </a:r>
            <a:endParaRPr kumimoji="0" lang="en-US" sz="21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7415062" y="6437885"/>
            <a:ext cx="2811517" cy="1708156"/>
          </a:xfrm>
          <a:prstGeom prst="rect">
            <a:avLst/>
          </a:prstGeom>
          <a:gradFill flip="none" rotWithShape="1">
            <a:gsLst>
              <a:gs pos="0">
                <a:schemeClr val="lt1">
                  <a:shade val="30000"/>
                  <a:satMod val="115000"/>
                </a:schemeClr>
              </a:gs>
              <a:gs pos="50000">
                <a:schemeClr val="lt1">
                  <a:shade val="67500"/>
                  <a:satMod val="115000"/>
                </a:schemeClr>
              </a:gs>
              <a:gs pos="100000">
                <a:schemeClr val="lt1">
                  <a:shade val="100000"/>
                  <a:satMod val="115000"/>
                </a:schemeClr>
              </a:gs>
            </a:gsLst>
            <a:lin ang="16200000" scaled="1"/>
            <a:tileRect/>
          </a:gradFill>
          <a:ln/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1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RDSO- Ministry of Railways: Guidelines for use of High</a:t>
            </a:r>
            <a:r>
              <a:rPr kumimoji="0" lang="en-US" sz="2100" b="1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 Performance Concrete in Bridges</a:t>
            </a:r>
            <a:endParaRPr kumimoji="0" lang="en-US" sz="21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0528514" y="7046207"/>
            <a:ext cx="2811517" cy="1061825"/>
          </a:xfrm>
          <a:prstGeom prst="rect">
            <a:avLst/>
          </a:prstGeom>
          <a:gradFill flip="none" rotWithShape="1">
            <a:gsLst>
              <a:gs pos="0">
                <a:schemeClr val="lt1">
                  <a:shade val="30000"/>
                  <a:satMod val="115000"/>
                </a:schemeClr>
              </a:gs>
              <a:gs pos="50000">
                <a:schemeClr val="lt1">
                  <a:shade val="67500"/>
                  <a:satMod val="115000"/>
                </a:schemeClr>
              </a:gs>
              <a:gs pos="100000">
                <a:schemeClr val="lt1">
                  <a:shade val="100000"/>
                  <a:satMod val="115000"/>
                </a:schemeClr>
              </a:gs>
            </a:gsLst>
            <a:lin ang="16200000" scaled="1"/>
            <a:tileRect/>
          </a:gradFill>
          <a:ln/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1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Municipal</a:t>
            </a:r>
            <a:r>
              <a:rPr kumimoji="0" lang="en-US" sz="2100" b="1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 Corporation of Greater Mumbai- Tech. Tender Document</a:t>
            </a:r>
            <a:endParaRPr kumimoji="0" lang="en-US" sz="21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201033" y="5498910"/>
            <a:ext cx="2811517" cy="738660"/>
          </a:xfrm>
          <a:prstGeom prst="rect">
            <a:avLst/>
          </a:prstGeom>
          <a:gradFill flip="none" rotWithShape="1">
            <a:gsLst>
              <a:gs pos="0">
                <a:schemeClr val="lt1">
                  <a:shade val="30000"/>
                  <a:satMod val="115000"/>
                </a:schemeClr>
              </a:gs>
              <a:gs pos="50000">
                <a:schemeClr val="lt1">
                  <a:shade val="67500"/>
                  <a:satMod val="115000"/>
                </a:schemeClr>
              </a:gs>
              <a:gs pos="100000">
                <a:schemeClr val="lt1">
                  <a:shade val="100000"/>
                  <a:satMod val="115000"/>
                </a:schemeClr>
              </a:gs>
            </a:gsLst>
            <a:lin ang="16200000" scaled="1"/>
            <a:tileRect/>
          </a:gradFill>
          <a:ln/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1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CPWD- Specifications- (Vol I)- 2009 </a:t>
            </a:r>
            <a:endParaRPr kumimoji="0" lang="en-US" sz="21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0515614" y="1215584"/>
            <a:ext cx="2811517" cy="1384990"/>
          </a:xfrm>
          <a:prstGeom prst="rect">
            <a:avLst/>
          </a:prstGeom>
          <a:gradFill flip="none" rotWithShape="1">
            <a:gsLst>
              <a:gs pos="0">
                <a:schemeClr val="lt1">
                  <a:shade val="30000"/>
                  <a:satMod val="115000"/>
                </a:schemeClr>
              </a:gs>
              <a:gs pos="50000">
                <a:schemeClr val="lt1">
                  <a:shade val="67500"/>
                  <a:satMod val="115000"/>
                </a:schemeClr>
              </a:gs>
              <a:gs pos="100000">
                <a:schemeClr val="lt1">
                  <a:shade val="100000"/>
                  <a:satMod val="115000"/>
                </a:schemeClr>
              </a:gs>
            </a:gsLst>
            <a:lin ang="16200000" scaled="1"/>
            <a:tileRect/>
          </a:gradFill>
          <a:ln/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1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CII Green Products and Services</a:t>
            </a:r>
            <a:r>
              <a:rPr kumimoji="0" lang="en-US" sz="2100" b="1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 Council Certifications- “</a:t>
            </a:r>
            <a:r>
              <a:rPr kumimoji="0" lang="en-US" sz="2100" b="1" i="0" u="none" strike="noStrike" cap="none" spc="0" normalizeH="0" dirty="0" err="1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GreenPro</a:t>
            </a:r>
            <a:r>
              <a:rPr kumimoji="0" lang="en-US" sz="2100" b="1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Calibri"/>
              </a:rPr>
              <a:t>” </a:t>
            </a:r>
            <a:endParaRPr kumimoji="0" lang="en-US" sz="21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42750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20" grpId="0" animBg="1"/>
      <p:bldP spid="21" grpId="0" animBg="1"/>
      <p:bldP spid="23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14178697" y="7959426"/>
            <a:ext cx="449799" cy="443194"/>
          </a:xfrm>
        </p:spPr>
        <p:txBody>
          <a:bodyPr/>
          <a:lstStyle/>
          <a:p>
            <a:pPr>
              <a:defRPr/>
            </a:pPr>
            <a:fld id="{A779734F-F19B-487E-B659-7C00F88C5C34}" type="slidenum">
              <a:rPr lang="en-US" altLang="en-US" smtClean="0"/>
              <a:pPr>
                <a:defRPr/>
              </a:pPr>
              <a:t>15</a:t>
            </a:fld>
            <a:endParaRPr lang="en-US" altLang="en-US"/>
          </a:p>
        </p:txBody>
      </p:sp>
      <p:sp>
        <p:nvSpPr>
          <p:cNvPr id="6" name="TextBox 5"/>
          <p:cNvSpPr txBox="1"/>
          <p:nvPr/>
        </p:nvSpPr>
        <p:spPr>
          <a:xfrm>
            <a:off x="3392618" y="23375"/>
            <a:ext cx="9523902" cy="99690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lIns="54847" tIns="54847" rIns="54847" bIns="54847" spcCol="38100">
            <a:spAutoFit/>
          </a:bodyPr>
          <a:lstStyle/>
          <a:p>
            <a:pPr defTabSz="1096951">
              <a:defRPr/>
            </a:pPr>
            <a:r>
              <a:rPr lang="en-US" sz="2879" b="1" dirty="0"/>
              <a:t>Infrastructure Projects- </a:t>
            </a:r>
          </a:p>
          <a:p>
            <a:pPr defTabSz="1096951">
              <a:defRPr/>
            </a:pPr>
            <a:r>
              <a:rPr lang="en-US" sz="2879" b="1" dirty="0"/>
              <a:t>Metro Rails, Roads, Bridges &amp; Highways, Ports &amp; Jetties</a:t>
            </a:r>
          </a:p>
        </p:txBody>
      </p:sp>
      <p:pic>
        <p:nvPicPr>
          <p:cNvPr id="54276" name="Picture 6" descr="C:\Users\Krishna Mohan\Desktop\Logos\bmrcl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87176" y="1604010"/>
            <a:ext cx="2459356" cy="15944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277" name="Picture 7" descr="C:\Users\Krishna Mohan\Desktop\Logos\chennai metro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9591" y="1604010"/>
            <a:ext cx="2255520" cy="15944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278" name="Picture 8" descr="C:\Users\Krishna Mohan\Desktop\Logos\Pune metro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5796" y="1604010"/>
            <a:ext cx="1748790" cy="15944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279" name="Picture 20" descr="Image result for MMRCL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082" y="1604010"/>
            <a:ext cx="1596390" cy="15944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280" name="Picture 12" descr="Image result for HCC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5586" y="4099561"/>
            <a:ext cx="1924050" cy="537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281" name="Picture 28" descr="Image result for cec itd cem tpl jv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5216" y="3672840"/>
            <a:ext cx="2718436" cy="1554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282" name="Picture 13" descr="C:\Users\Krishna Mohan\Desktop\Logos\NCC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5596" y="3625216"/>
            <a:ext cx="1451610" cy="145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283" name="Picture 14" descr="C:\Users\Krishna Mohan\Desktop\Logos\L&amp;T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935" y="3714750"/>
            <a:ext cx="1449706" cy="13925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284" name="Picture 8" descr="Image result for gammon india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5501" y="5201604"/>
            <a:ext cx="2066926" cy="11982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285" name="Picture 16" descr="C:\Users\Krishna Mohan\Desktop\Logos\BSCPL.jp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527" y="6222066"/>
            <a:ext cx="1735456" cy="1737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286" name="Picture 26" descr="Image result for modern road makers pvt ltd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7472" y="6178299"/>
            <a:ext cx="2577466" cy="1859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287" name="Picture 18" descr="Image result for Soma construction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1346" y="5401136"/>
            <a:ext cx="2628900" cy="12115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288" name="Picture 2" descr="Image result for il&amp;fs engineerin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10061" y="4962524"/>
            <a:ext cx="2602230" cy="1560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289" name="Picture 20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49151" y="3752850"/>
            <a:ext cx="1910714" cy="11944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290" name="Picture 21" descr="C:\Users\Krishna Mohan\Desktop\Logos\chennai metro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9591" y="1638301"/>
            <a:ext cx="2255520" cy="15963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291" name="Picture 16" descr="Image result for afcons construction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1581" y="4070033"/>
            <a:ext cx="2091690" cy="560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241657" y="5107449"/>
            <a:ext cx="4943475" cy="94297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5516374" y="6502861"/>
            <a:ext cx="3193794" cy="152472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9140191" y="6446432"/>
            <a:ext cx="2390775" cy="1581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6160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EBFB5A9-015F-41CB-A26E-894DF979DFD6}" type="slidenum">
              <a:rPr lang="en-US" altLang="en-US" smtClean="0"/>
              <a:pPr>
                <a:defRPr/>
              </a:pPr>
              <a:t>16</a:t>
            </a:fld>
            <a:endParaRPr lang="en-US" altLang="en-US"/>
          </a:p>
        </p:txBody>
      </p:sp>
      <p:sp>
        <p:nvSpPr>
          <p:cNvPr id="6" name="TextBox 5"/>
          <p:cNvSpPr txBox="1"/>
          <p:nvPr/>
        </p:nvSpPr>
        <p:spPr>
          <a:xfrm>
            <a:off x="3392618" y="23375"/>
            <a:ext cx="9523902" cy="99690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lIns="54847" tIns="54847" rIns="54847" bIns="54847" spcCol="38100">
            <a:spAutoFit/>
          </a:bodyPr>
          <a:lstStyle/>
          <a:p>
            <a:pPr defTabSz="1096951">
              <a:defRPr/>
            </a:pPr>
            <a:r>
              <a:rPr lang="en-US" sz="2879" b="1" dirty="0"/>
              <a:t>Buildings- </a:t>
            </a:r>
          </a:p>
          <a:p>
            <a:pPr defTabSz="1096951">
              <a:defRPr/>
            </a:pPr>
            <a:r>
              <a:rPr lang="en-US" sz="2879" b="1" dirty="0"/>
              <a:t>Residential &amp; Commercial</a:t>
            </a:r>
          </a:p>
        </p:txBody>
      </p:sp>
      <p:pic>
        <p:nvPicPr>
          <p:cNvPr id="55300" name="Picture 10" descr="Image result for aparna home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975" y="2828926"/>
            <a:ext cx="1762126" cy="1762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301" name="Picture 21" descr="C:\Users\Krishna Mohan\Desktop\Logos\Cybercity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6155" y="1175386"/>
            <a:ext cx="2714626" cy="177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302" name="Picture 22" descr="Image result for puravankara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5636" y="1175386"/>
            <a:ext cx="1771650" cy="177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303" name="Picture 23" descr="C:\Users\Krishna Mohan\Desktop\Logos\Ramakrishna Housing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02141" y="1175386"/>
            <a:ext cx="1811654" cy="177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304" name="Picture 24" descr="C:\Users\Krishna Mohan\Desktop\Logos\LEPL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58652" y="1175386"/>
            <a:ext cx="1769744" cy="177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305" name="Picture 25" descr="C:\Users\Krishna Mohan\Desktop\Logos\SPCl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9175" y="1175386"/>
            <a:ext cx="1762126" cy="16116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306" name="Picture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081" y="4859656"/>
            <a:ext cx="1958340" cy="14077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307" name="Picture 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6" y="4646143"/>
            <a:ext cx="2714624" cy="12592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308" name="Picture 3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1952" y="3442336"/>
            <a:ext cx="554355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309" name="Picture 32" descr="C:\Users\Krishna Mohan\Desktop\Logos\jayabheri.jp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6" y="3348990"/>
            <a:ext cx="2907030" cy="1007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310" name="Picture 33" descr="C:\Users\Krishna Mohan\Desktop\Logos\Jyothirmyee properties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2380" y="4473286"/>
            <a:ext cx="1983106" cy="12592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311" name="Picture 35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3032" y="6374130"/>
            <a:ext cx="1762124" cy="1760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312" name="Picture 37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8186" y="6374130"/>
            <a:ext cx="2366010" cy="17125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313" name="Picture 39" descr="C:\Users\Krishna Mohan\Desktop\Logos\Shoba.pn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7225" y="6307456"/>
            <a:ext cx="1030606" cy="17792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314" name="Picture 40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5636" y="4676776"/>
            <a:ext cx="2878454" cy="1287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315" name="Picture 41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0862" y="6267450"/>
            <a:ext cx="2554604" cy="1453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2065486" y="5519078"/>
            <a:ext cx="2242017" cy="733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49790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3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3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3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3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3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3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3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3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3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3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3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3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3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3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3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3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2D392D-DAD8-467C-9F0F-8E79149EE581}" type="slidenum">
              <a:rPr lang="en-US" altLang="en-US" smtClean="0"/>
              <a:pPr>
                <a:defRPr/>
              </a:pPr>
              <a:t>17</a:t>
            </a:fld>
            <a:endParaRPr lang="en-US" altLang="en-US"/>
          </a:p>
        </p:txBody>
      </p:sp>
      <p:sp>
        <p:nvSpPr>
          <p:cNvPr id="6" name="TextBox 5"/>
          <p:cNvSpPr txBox="1"/>
          <p:nvPr/>
        </p:nvSpPr>
        <p:spPr>
          <a:xfrm>
            <a:off x="3392618" y="23375"/>
            <a:ext cx="9523902" cy="99690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lIns="54847" tIns="54847" rIns="54847" bIns="54847" spcCol="38100">
            <a:spAutoFit/>
          </a:bodyPr>
          <a:lstStyle/>
          <a:p>
            <a:pPr defTabSz="1096951">
              <a:defRPr/>
            </a:pPr>
            <a:r>
              <a:rPr lang="en-US" sz="2879" b="1" dirty="0"/>
              <a:t>Ready Mix Concrete &amp; Concrete Product Industries- </a:t>
            </a:r>
          </a:p>
          <a:p>
            <a:pPr defTabSz="1096951">
              <a:defRPr/>
            </a:pPr>
            <a:r>
              <a:rPr lang="en-US" sz="2879" b="1" dirty="0"/>
              <a:t>Commercial RMC, AAC Blocks, AC Sheet &amp; Precast</a:t>
            </a:r>
          </a:p>
        </p:txBody>
      </p:sp>
      <p:pic>
        <p:nvPicPr>
          <p:cNvPr id="56325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086" y="3659506"/>
            <a:ext cx="3246120" cy="186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326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5311" y="1485901"/>
            <a:ext cx="5438774" cy="19392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327" name="Pictur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7761" y="1550670"/>
            <a:ext cx="2263140" cy="15773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328" name="Picture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745" y="6063616"/>
            <a:ext cx="5084446" cy="70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329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4947" y="6799550"/>
            <a:ext cx="2920364" cy="11468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330" name="Picture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316" y="6985636"/>
            <a:ext cx="3303270" cy="9867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331" name="Picture 1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26141" y="5838826"/>
            <a:ext cx="2596514" cy="11506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332" name="Picture 1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4742" y="5774056"/>
            <a:ext cx="2432684" cy="9944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333" name="Picture 14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2481" y="4053840"/>
            <a:ext cx="3162300" cy="1083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334" name="Picture 15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2961" y="3912870"/>
            <a:ext cx="2842260" cy="13735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335" name="Picture 16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61496" y="3890010"/>
            <a:ext cx="1988820" cy="1394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0513" y="1217030"/>
            <a:ext cx="1905266" cy="1905266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661084" y="7087204"/>
            <a:ext cx="3998248" cy="885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15065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-1" y="306859"/>
            <a:ext cx="14630401" cy="4801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4862" tIns="54862" rIns="54862" bIns="54862" numCol="1" spcCol="38100" rtlCol="0" anchor="t">
            <a:spAutoFit/>
          </a:bodyPr>
          <a:lstStyle/>
          <a:p>
            <a:pPr algn="ctr"/>
            <a:r>
              <a:rPr lang="en-US" sz="2400" b="1" dirty="0">
                <a:latin typeface="Century Gothic" panose="020B0502020202020204" pitchFamily="34" charset="0"/>
              </a:rPr>
              <a:t>START STRONG, GROW STRONGER</a:t>
            </a:r>
          </a:p>
        </p:txBody>
      </p:sp>
      <p:sp>
        <p:nvSpPr>
          <p:cNvPr id="5" name="Rectangle 4"/>
          <p:cNvSpPr/>
          <p:nvPr/>
        </p:nvSpPr>
        <p:spPr>
          <a:xfrm>
            <a:off x="4936150" y="2728916"/>
            <a:ext cx="4758098" cy="997196"/>
          </a:xfrm>
          <a:prstGeom prst="rect">
            <a:avLst/>
          </a:prstGeom>
          <a:noFill/>
        </p:spPr>
        <p:txBody>
          <a:bodyPr wrap="none" lIns="109728" tIns="54864" rIns="109728" bIns="54864">
            <a:spAutoFit/>
          </a:bodyPr>
          <a:lstStyle/>
          <a:p>
            <a:pPr algn="ctr"/>
            <a:r>
              <a:rPr lang="en-US" sz="5760" b="1" dirty="0">
                <a:ln w="0"/>
                <a:solidFill>
                  <a:srgbClr val="18479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entury Gothic" panose="020B0502020202020204" pitchFamily="34" charset="0"/>
              </a:rPr>
              <a:t>THANK </a:t>
            </a:r>
            <a:r>
              <a:rPr lang="en-US" sz="5760" b="1" dirty="0" smtClean="0">
                <a:ln w="0"/>
                <a:solidFill>
                  <a:srgbClr val="18479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entury Gothic" panose="020B0502020202020204" pitchFamily="34" charset="0"/>
              </a:rPr>
              <a:t>YOU !</a:t>
            </a:r>
            <a:endParaRPr lang="en-US" sz="5760" b="1" dirty="0">
              <a:ln w="0"/>
              <a:solidFill>
                <a:srgbClr val="18479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Century Gothic" panose="020B0502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8024649" y="5659256"/>
            <a:ext cx="5721088" cy="138499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2800" dirty="0" smtClean="0"/>
              <a:t>For any further details, please contact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8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sym typeface="Calibri"/>
                <a:hlinkClick r:id="rId2"/>
              </a:rPr>
              <a:t>Trivikram.Shenvi@jsw.in</a:t>
            </a:r>
            <a:endParaRPr kumimoji="0" lang="en-US" sz="2800" b="0" i="0" u="none" strike="noStrike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FillTx/>
              <a:sym typeface="Calibri"/>
            </a:endParaRP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2800" dirty="0" smtClean="0"/>
              <a:t>+91 8793001899</a:t>
            </a:r>
            <a:endParaRPr kumimoji="0" lang="en-US" sz="2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21798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132558" y="73208"/>
            <a:ext cx="9893216" cy="9602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wrap="square" lIns="109728" tIns="109728" rIns="109728" bIns="109728" anchor="ctr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kern="1200">
                <a:solidFill>
                  <a:schemeClr val="tx1"/>
                </a:solidFill>
                <a:latin typeface="Calibri" pitchFamily="34" charset="0"/>
                <a:ea typeface="+mj-ea"/>
                <a:cs typeface="+mj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>
              <a:defRPr/>
            </a:pPr>
            <a:r>
              <a:rPr lang="en-IN" sz="2400" dirty="0">
                <a:solidFill>
                  <a:prstClr val="black"/>
                </a:solidFill>
                <a:latin typeface="Century Gothic" panose="020B0502020202020204" pitchFamily="34" charset="0"/>
              </a:rPr>
              <a:t>JSW is a $</a:t>
            </a:r>
            <a:r>
              <a:rPr lang="en-IN" sz="2400" dirty="0" smtClean="0">
                <a:solidFill>
                  <a:prstClr val="black"/>
                </a:solidFill>
                <a:latin typeface="Century Gothic" panose="020B0502020202020204" pitchFamily="34" charset="0"/>
              </a:rPr>
              <a:t>13 </a:t>
            </a:r>
            <a:r>
              <a:rPr lang="en-IN" sz="2400" dirty="0">
                <a:solidFill>
                  <a:prstClr val="black"/>
                </a:solidFill>
                <a:latin typeface="Century Gothic" panose="020B0502020202020204" pitchFamily="34" charset="0"/>
              </a:rPr>
              <a:t>billion conglomerate with presence across key sector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4256" y="1596155"/>
            <a:ext cx="1977016" cy="935993"/>
          </a:xfrm>
          <a:prstGeom prst="rect">
            <a:avLst/>
          </a:prstGeom>
        </p:spPr>
      </p:pic>
      <p:cxnSp>
        <p:nvCxnSpPr>
          <p:cNvPr id="25" name="Elbow Connector 24"/>
          <p:cNvCxnSpPr>
            <a:stCxn id="24" idx="2"/>
          </p:cNvCxnSpPr>
          <p:nvPr/>
        </p:nvCxnSpPr>
        <p:spPr>
          <a:xfrm rot="5400000">
            <a:off x="4058790" y="124110"/>
            <a:ext cx="829093" cy="5916520"/>
          </a:xfrm>
          <a:prstGeom prst="bentConnector3">
            <a:avLst/>
          </a:prstGeom>
          <a:noFill/>
          <a:ln w="25400" cap="flat">
            <a:solidFill>
              <a:schemeClr val="tx1"/>
            </a:solidFill>
            <a:prstDash val="solid"/>
            <a:round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6" name="Elbow Connector 25"/>
          <p:cNvCxnSpPr>
            <a:stCxn id="24" idx="2"/>
          </p:cNvCxnSpPr>
          <p:nvPr/>
        </p:nvCxnSpPr>
        <p:spPr>
          <a:xfrm rot="16200000" flipH="1">
            <a:off x="8512369" y="1587049"/>
            <a:ext cx="829093" cy="2990641"/>
          </a:xfrm>
          <a:prstGeom prst="bentConnector3">
            <a:avLst>
              <a:gd name="adj1" fmla="val 50000"/>
            </a:avLst>
          </a:prstGeom>
          <a:noFill/>
          <a:ln w="25400" cap="flat">
            <a:solidFill>
              <a:schemeClr val="tx1"/>
            </a:solidFill>
            <a:prstDash val="solid"/>
            <a:round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7" name="Elbow Connector 26"/>
          <p:cNvCxnSpPr/>
          <p:nvPr/>
        </p:nvCxnSpPr>
        <p:spPr>
          <a:xfrm rot="5400000">
            <a:off x="5445013" y="1527612"/>
            <a:ext cx="829093" cy="3109517"/>
          </a:xfrm>
          <a:prstGeom prst="bentConnector3">
            <a:avLst>
              <a:gd name="adj1" fmla="val 50000"/>
            </a:avLst>
          </a:prstGeom>
          <a:noFill/>
          <a:ln w="25400" cap="flat">
            <a:solidFill>
              <a:schemeClr val="tx1"/>
            </a:solidFill>
            <a:prstDash val="solid"/>
            <a:round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8" name="Elbow Connector 27"/>
          <p:cNvCxnSpPr>
            <a:stCxn id="24" idx="2"/>
          </p:cNvCxnSpPr>
          <p:nvPr/>
        </p:nvCxnSpPr>
        <p:spPr>
          <a:xfrm rot="16200000" flipH="1">
            <a:off x="7018162" y="3081256"/>
            <a:ext cx="829093" cy="2227"/>
          </a:xfrm>
          <a:prstGeom prst="bentConnector3">
            <a:avLst>
              <a:gd name="adj1" fmla="val 50000"/>
            </a:avLst>
          </a:prstGeom>
          <a:noFill/>
          <a:ln w="25400" cap="flat">
            <a:solidFill>
              <a:schemeClr val="tx1"/>
            </a:solidFill>
            <a:prstDash val="solid"/>
            <a:round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9" name="Elbow Connector 28"/>
          <p:cNvCxnSpPr/>
          <p:nvPr/>
        </p:nvCxnSpPr>
        <p:spPr>
          <a:xfrm rot="16200000" flipH="1">
            <a:off x="9948495" y="166378"/>
            <a:ext cx="798232" cy="5832031"/>
          </a:xfrm>
          <a:prstGeom prst="bentConnector3">
            <a:avLst>
              <a:gd name="adj1" fmla="val 50000"/>
            </a:avLst>
          </a:prstGeom>
          <a:noFill/>
          <a:ln w="25400" cap="flat">
            <a:solidFill>
              <a:schemeClr val="tx1"/>
            </a:solidFill>
            <a:prstDash val="solid"/>
            <a:round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pSp>
        <p:nvGrpSpPr>
          <p:cNvPr id="51" name="Group 50"/>
          <p:cNvGrpSpPr/>
          <p:nvPr/>
        </p:nvGrpSpPr>
        <p:grpSpPr>
          <a:xfrm>
            <a:off x="485557" y="3478531"/>
            <a:ext cx="2020111" cy="3617087"/>
            <a:chOff x="404631" y="2898775"/>
            <a:chExt cx="1683426" cy="3014239"/>
          </a:xfrm>
        </p:grpSpPr>
        <p:grpSp>
          <p:nvGrpSpPr>
            <p:cNvPr id="6" name="Group 5"/>
            <p:cNvGrpSpPr/>
            <p:nvPr/>
          </p:nvGrpSpPr>
          <p:grpSpPr>
            <a:xfrm>
              <a:off x="516825" y="2898775"/>
              <a:ext cx="1491472" cy="3014239"/>
              <a:chOff x="516825" y="2898775"/>
              <a:chExt cx="1491472" cy="3014239"/>
            </a:xfrm>
          </p:grpSpPr>
          <p:pic>
            <p:nvPicPr>
              <p:cNvPr id="7" name="Picture 6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1413" r="-1"/>
              <a:stretch/>
            </p:blipFill>
            <p:spPr>
              <a:xfrm>
                <a:off x="731521" y="2898775"/>
                <a:ext cx="1024550" cy="903600"/>
              </a:xfrm>
              <a:prstGeom prst="ellipse">
                <a:avLst/>
              </a:prstGeom>
              <a:ln>
                <a:solidFill>
                  <a:srgbClr val="18479F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8" name="Rectangle 2"/>
              <p:cNvSpPr>
                <a:spLocks noChangeArrowheads="1"/>
              </p:cNvSpPr>
              <p:nvPr/>
            </p:nvSpPr>
            <p:spPr bwMode="gray">
              <a:xfrm>
                <a:off x="516825" y="4465604"/>
                <a:ext cx="1491472" cy="1447410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lIns="109728" tIns="109728" rIns="109728" bIns="109728" anchor="ctr"/>
              <a:lstStyle/>
              <a:p>
                <a:pPr algn="ctr" eaLnBrk="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40" b="1" dirty="0">
                    <a:solidFill>
                      <a:srgbClr val="FFFFFF"/>
                    </a:solidFill>
                    <a:latin typeface="Century Gothic" panose="020B0502020202020204" pitchFamily="34" charset="0"/>
                  </a:rPr>
                  <a:t>India’s leading integrated steel producer with </a:t>
                </a:r>
              </a:p>
              <a:p>
                <a:pPr algn="ctr" eaLnBrk="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40" b="1" dirty="0">
                    <a:solidFill>
                      <a:srgbClr val="FFFFFF"/>
                    </a:solidFill>
                    <a:latin typeface="Century Gothic" panose="020B0502020202020204" pitchFamily="34" charset="0"/>
                  </a:rPr>
                  <a:t>18 MTPA steel capacity</a:t>
                </a:r>
              </a:p>
            </p:txBody>
          </p:sp>
        </p:grpSp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4631" y="3877369"/>
              <a:ext cx="1683426" cy="514047"/>
            </a:xfrm>
            <a:prstGeom prst="rect">
              <a:avLst/>
            </a:prstGeom>
          </p:spPr>
        </p:pic>
      </p:grpSp>
      <p:grpSp>
        <p:nvGrpSpPr>
          <p:cNvPr id="50" name="Group 49"/>
          <p:cNvGrpSpPr/>
          <p:nvPr/>
        </p:nvGrpSpPr>
        <p:grpSpPr>
          <a:xfrm>
            <a:off x="12042999" y="3447055"/>
            <a:ext cx="2337786" cy="3617701"/>
            <a:chOff x="10035832" y="2872545"/>
            <a:chExt cx="1948155" cy="3014751"/>
          </a:xfrm>
        </p:grpSpPr>
        <p:grpSp>
          <p:nvGrpSpPr>
            <p:cNvPr id="30" name="Group 29"/>
            <p:cNvGrpSpPr/>
            <p:nvPr/>
          </p:nvGrpSpPr>
          <p:grpSpPr>
            <a:xfrm>
              <a:off x="10304777" y="2872545"/>
              <a:ext cx="1491472" cy="3014751"/>
              <a:chOff x="10304777" y="2872545"/>
              <a:chExt cx="1491472" cy="3014751"/>
            </a:xfrm>
          </p:grpSpPr>
          <p:pic>
            <p:nvPicPr>
              <p:cNvPr id="31" name="Picture 30"/>
              <p:cNvPicPr>
                <a:picLocks noChangeAspect="1"/>
              </p:cNvPicPr>
              <p:nvPr/>
            </p:nvPicPr>
            <p:blipFill rotWithShape="1"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2584" r="21550"/>
              <a:stretch/>
            </p:blipFill>
            <p:spPr>
              <a:xfrm>
                <a:off x="10539531" y="2872545"/>
                <a:ext cx="1058091" cy="903600"/>
              </a:xfrm>
              <a:prstGeom prst="ellipse">
                <a:avLst/>
              </a:prstGeom>
              <a:ln>
                <a:solidFill>
                  <a:srgbClr val="18479F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32" name="Rectangle 2"/>
              <p:cNvSpPr>
                <a:spLocks noChangeArrowheads="1"/>
              </p:cNvSpPr>
              <p:nvPr/>
            </p:nvSpPr>
            <p:spPr bwMode="gray">
              <a:xfrm>
                <a:off x="10304777" y="4439886"/>
                <a:ext cx="1491472" cy="1447410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9525" algn="ctr">
                <a:solidFill>
                  <a:schemeClr val="accent5">
                    <a:lumMod val="40000"/>
                    <a:lumOff val="60000"/>
                  </a:schemeClr>
                </a:solidFill>
                <a:prstDash val="dash"/>
                <a:miter lim="800000"/>
                <a:headEnd/>
                <a:tailEnd/>
              </a:ln>
              <a:effectLst/>
            </p:spPr>
            <p:txBody>
              <a:bodyPr lIns="109728" tIns="109728" rIns="109728" bIns="109728" anchor="ctr"/>
              <a:lstStyle/>
              <a:p>
                <a:pPr algn="ctr" eaLnBrk="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40" b="1" dirty="0">
                    <a:solidFill>
                      <a:schemeClr val="tx1"/>
                    </a:solidFill>
                    <a:latin typeface="Century Gothic" panose="020B0502020202020204" pitchFamily="34" charset="0"/>
                  </a:rPr>
                  <a:t>Coming Soon…</a:t>
                </a:r>
              </a:p>
            </p:txBody>
          </p:sp>
        </p:grpSp>
        <p:pic>
          <p:nvPicPr>
            <p:cNvPr id="42" name="Picture 41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35832" y="3827661"/>
              <a:ext cx="1948155" cy="554157"/>
            </a:xfrm>
            <a:prstGeom prst="rect">
              <a:avLst/>
            </a:prstGeom>
          </p:spPr>
        </p:pic>
      </p:grpSp>
      <p:grpSp>
        <p:nvGrpSpPr>
          <p:cNvPr id="48" name="Group 47"/>
          <p:cNvGrpSpPr/>
          <p:nvPr/>
        </p:nvGrpSpPr>
        <p:grpSpPr>
          <a:xfrm>
            <a:off x="3198310" y="3482696"/>
            <a:ext cx="2319803" cy="3637703"/>
            <a:chOff x="7754898" y="2881595"/>
            <a:chExt cx="1933169" cy="3031419"/>
          </a:xfrm>
        </p:grpSpPr>
        <p:grpSp>
          <p:nvGrpSpPr>
            <p:cNvPr id="16" name="Group 15"/>
            <p:cNvGrpSpPr/>
            <p:nvPr/>
          </p:nvGrpSpPr>
          <p:grpSpPr>
            <a:xfrm>
              <a:off x="7951893" y="2881595"/>
              <a:ext cx="1491472" cy="3031419"/>
              <a:chOff x="7951893" y="2881595"/>
              <a:chExt cx="1491472" cy="3031419"/>
            </a:xfrm>
          </p:grpSpPr>
          <p:pic>
            <p:nvPicPr>
              <p:cNvPr id="17" name="Picture 16"/>
              <p:cNvPicPr>
                <a:picLocks noChangeAspect="1"/>
              </p:cNvPicPr>
              <p:nvPr/>
            </p:nvPicPr>
            <p:blipFill rotWithShape="1"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7435"/>
              <a:stretch/>
            </p:blipFill>
            <p:spPr>
              <a:xfrm>
                <a:off x="8182125" y="2881595"/>
                <a:ext cx="1031008" cy="903600"/>
              </a:xfrm>
              <a:prstGeom prst="ellipse">
                <a:avLst/>
              </a:prstGeom>
              <a:ln>
                <a:solidFill>
                  <a:srgbClr val="18479F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18" name="Rectangle 2"/>
              <p:cNvSpPr>
                <a:spLocks noChangeArrowheads="1"/>
              </p:cNvSpPr>
              <p:nvPr/>
            </p:nvSpPr>
            <p:spPr bwMode="gray">
              <a:xfrm>
                <a:off x="7951893" y="4465604"/>
                <a:ext cx="1491472" cy="1447410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lIns="109728" tIns="109728" rIns="109728" bIns="109728" anchor="ctr"/>
              <a:lstStyle/>
              <a:p>
                <a:pPr algn="ctr" eaLnBrk="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40" b="1" dirty="0">
                    <a:solidFill>
                      <a:srgbClr val="FFFFFF"/>
                    </a:solidFill>
                    <a:latin typeface="Century Gothic" panose="020B0502020202020204" pitchFamily="34" charset="0"/>
                  </a:rPr>
                  <a:t>Services the entire energy value chain with a total capacity of 4,531MW</a:t>
                </a:r>
              </a:p>
            </p:txBody>
          </p:sp>
        </p:grpSp>
        <p:pic>
          <p:nvPicPr>
            <p:cNvPr id="43" name="Picture 42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54898" y="3836414"/>
              <a:ext cx="1933169" cy="530674"/>
            </a:xfrm>
            <a:prstGeom prst="rect">
              <a:avLst/>
            </a:prstGeom>
          </p:spPr>
        </p:pic>
      </p:grpSp>
      <p:grpSp>
        <p:nvGrpSpPr>
          <p:cNvPr id="47" name="Group 46"/>
          <p:cNvGrpSpPr/>
          <p:nvPr/>
        </p:nvGrpSpPr>
        <p:grpSpPr>
          <a:xfrm>
            <a:off x="8871478" y="3479828"/>
            <a:ext cx="3291331" cy="3598700"/>
            <a:chOff x="2341726" y="2914097"/>
            <a:chExt cx="2742776" cy="2998917"/>
          </a:xfrm>
        </p:grpSpPr>
        <p:grpSp>
          <p:nvGrpSpPr>
            <p:cNvPr id="20" name="Group 19"/>
            <p:cNvGrpSpPr/>
            <p:nvPr/>
          </p:nvGrpSpPr>
          <p:grpSpPr>
            <a:xfrm>
              <a:off x="2791883" y="2914097"/>
              <a:ext cx="1491472" cy="2998917"/>
              <a:chOff x="2791883" y="2914097"/>
              <a:chExt cx="1491472" cy="2998917"/>
            </a:xfrm>
          </p:grpSpPr>
          <p:pic>
            <p:nvPicPr>
              <p:cNvPr id="21" name="Picture 20"/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8016"/>
              <a:stretch/>
            </p:blipFill>
            <p:spPr>
              <a:xfrm>
                <a:off x="3077353" y="2914097"/>
                <a:ext cx="1049566" cy="901699"/>
              </a:xfrm>
              <a:prstGeom prst="ellipse">
                <a:avLst/>
              </a:prstGeom>
              <a:ln>
                <a:solidFill>
                  <a:srgbClr val="18479F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23" name="Rectangle 2"/>
              <p:cNvSpPr>
                <a:spLocks noChangeArrowheads="1"/>
              </p:cNvSpPr>
              <p:nvPr/>
            </p:nvSpPr>
            <p:spPr bwMode="gray">
              <a:xfrm>
                <a:off x="2791883" y="4465604"/>
                <a:ext cx="1491472" cy="1447410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lIns="109728" tIns="109728" rIns="109728" bIns="109728" anchor="ctr"/>
              <a:lstStyle/>
              <a:p>
                <a:pPr algn="ctr" eaLnBrk="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40" b="1" dirty="0">
                    <a:solidFill>
                      <a:srgbClr val="FFFFFF"/>
                    </a:solidFill>
                    <a:latin typeface="Century Gothic" panose="020B0502020202020204" pitchFamily="34" charset="0"/>
                  </a:rPr>
                  <a:t>Operates environment friendly seaports &amp; terminals with capacity of</a:t>
                </a:r>
              </a:p>
              <a:p>
                <a:pPr algn="ctr" eaLnBrk="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40" b="1" dirty="0">
                    <a:solidFill>
                      <a:schemeClr val="bg1"/>
                    </a:solidFill>
                    <a:latin typeface="Century Gothic" panose="020B0502020202020204" pitchFamily="34" charset="0"/>
                  </a:rPr>
                  <a:t>70 MTPA </a:t>
                </a:r>
              </a:p>
            </p:txBody>
          </p:sp>
        </p:grpSp>
        <p:pic>
          <p:nvPicPr>
            <p:cNvPr id="44" name="Picture 43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41726" y="3845359"/>
              <a:ext cx="2742776" cy="534608"/>
            </a:xfrm>
            <a:prstGeom prst="rect">
              <a:avLst/>
            </a:prstGeom>
          </p:spPr>
        </p:pic>
      </p:grpSp>
      <p:grpSp>
        <p:nvGrpSpPr>
          <p:cNvPr id="49" name="Group 48"/>
          <p:cNvGrpSpPr/>
          <p:nvPr/>
        </p:nvGrpSpPr>
        <p:grpSpPr>
          <a:xfrm>
            <a:off x="6176133" y="3230794"/>
            <a:ext cx="2534581" cy="4110923"/>
            <a:chOff x="5146777" y="2692328"/>
            <a:chExt cx="2112151" cy="3425769"/>
          </a:xfrm>
        </p:grpSpPr>
        <p:grpSp>
          <p:nvGrpSpPr>
            <p:cNvPr id="10" name="Group 9"/>
            <p:cNvGrpSpPr/>
            <p:nvPr/>
          </p:nvGrpSpPr>
          <p:grpSpPr>
            <a:xfrm>
              <a:off x="5146777" y="2692328"/>
              <a:ext cx="2112151" cy="3425769"/>
              <a:chOff x="5121019" y="2705207"/>
              <a:chExt cx="2112151" cy="3425769"/>
            </a:xfrm>
          </p:grpSpPr>
          <p:sp>
            <p:nvSpPr>
              <p:cNvPr id="11" name="Rectangle 2"/>
              <p:cNvSpPr>
                <a:spLocks noChangeArrowheads="1"/>
              </p:cNvSpPr>
              <p:nvPr/>
            </p:nvSpPr>
            <p:spPr bwMode="gray">
              <a:xfrm>
                <a:off x="5121019" y="2705207"/>
                <a:ext cx="2112151" cy="3425769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 w="9525" algn="ctr">
                <a:solidFill>
                  <a:srgbClr val="FF0000"/>
                </a:solidFill>
                <a:prstDash val="dash"/>
                <a:miter lim="800000"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440" b="1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12" name="Group 11"/>
              <p:cNvGrpSpPr/>
              <p:nvPr/>
            </p:nvGrpSpPr>
            <p:grpSpPr>
              <a:xfrm>
                <a:off x="5449114" y="2918338"/>
                <a:ext cx="1491472" cy="2994676"/>
                <a:chOff x="5449114" y="2918338"/>
                <a:chExt cx="1491472" cy="2994676"/>
              </a:xfrm>
            </p:grpSpPr>
            <p:pic>
              <p:nvPicPr>
                <p:cNvPr id="13" name="Picture 12"/>
                <p:cNvPicPr>
                  <a:picLocks noChangeAspect="1"/>
                </p:cNvPicPr>
                <p:nvPr/>
              </p:nvPicPr>
              <p:blipFill rotWithShape="1"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17892" r="18693"/>
                <a:stretch/>
              </p:blipFill>
              <p:spPr>
                <a:xfrm>
                  <a:off x="5629934" y="2918338"/>
                  <a:ext cx="1045029" cy="903600"/>
                </a:xfrm>
                <a:prstGeom prst="ellipse">
                  <a:avLst/>
                </a:prstGeom>
                <a:ln>
                  <a:solidFill>
                    <a:srgbClr val="18479F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</p:pic>
            <p:sp>
              <p:nvSpPr>
                <p:cNvPr id="15" name="Rectangle 2"/>
                <p:cNvSpPr>
                  <a:spLocks noChangeArrowheads="1"/>
                </p:cNvSpPr>
                <p:nvPr/>
              </p:nvSpPr>
              <p:spPr bwMode="gray">
                <a:xfrm>
                  <a:off x="5449114" y="4465604"/>
                  <a:ext cx="1491472" cy="1447410"/>
                </a:xfrm>
                <a:prstGeom prst="rect">
                  <a:avLst/>
                </a:prstGeom>
                <a:solidFill>
                  <a:schemeClr val="accent1">
                    <a:lumMod val="75000"/>
                  </a:schemeClr>
                </a:solidFill>
                <a:ln w="9525" algn="ctr">
                  <a:noFill/>
                  <a:miter lim="800000"/>
                  <a:headEnd/>
                  <a:tailEnd/>
                </a:ln>
                <a:effectLst/>
              </p:spPr>
              <p:txBody>
                <a:bodyPr lIns="109728" tIns="109728" rIns="109728" bIns="109728" anchor="ctr"/>
                <a:lstStyle/>
                <a:p>
                  <a:pPr algn="ctr"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440" b="1" dirty="0">
                      <a:solidFill>
                        <a:srgbClr val="FFFFFF"/>
                      </a:solidFill>
                      <a:latin typeface="Century Gothic" panose="020B0502020202020204" pitchFamily="34" charset="0"/>
                    </a:rPr>
                    <a:t>Manufacturer of ‘Portland Slag Cement’ and ‘GGBS’ with  capacity of  </a:t>
                  </a:r>
                  <a:r>
                    <a:rPr lang="en-US" sz="1440" b="1" dirty="0" smtClean="0">
                      <a:solidFill>
                        <a:srgbClr val="FFFFFF"/>
                      </a:solidFill>
                      <a:latin typeface="Century Gothic" panose="020B0502020202020204" pitchFamily="34" charset="0"/>
                    </a:rPr>
                    <a:t>12.8</a:t>
                  </a:r>
                  <a:endParaRPr lang="en-US" sz="1440" b="1" dirty="0">
                    <a:solidFill>
                      <a:srgbClr val="FFFFFF"/>
                    </a:solidFill>
                    <a:latin typeface="Century Gothic" panose="020B0502020202020204" pitchFamily="34" charset="0"/>
                  </a:endParaRPr>
                </a:p>
                <a:p>
                  <a:pPr algn="ctr" eaLnBrk="0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440" b="1" dirty="0">
                      <a:solidFill>
                        <a:srgbClr val="FFFFFF"/>
                      </a:solidFill>
                      <a:latin typeface="Century Gothic" panose="020B0502020202020204" pitchFamily="34" charset="0"/>
                    </a:rPr>
                    <a:t> MTPA</a:t>
                  </a:r>
                </a:p>
              </p:txBody>
            </p:sp>
          </p:grpSp>
        </p:grpSp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76834" y="3858530"/>
              <a:ext cx="1991943" cy="5233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05436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-1" y="306859"/>
            <a:ext cx="14630401" cy="4801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4862" tIns="54862" rIns="54862" bIns="54862" numCol="1" spcCol="38100" rtlCol="0" anchor="t">
            <a:spAutoFit/>
          </a:bodyPr>
          <a:lstStyle/>
          <a:p>
            <a:pPr algn="ctr"/>
            <a:r>
              <a:rPr lang="en-US" sz="2400" b="1" dirty="0">
                <a:solidFill>
                  <a:schemeClr val="tx1"/>
                </a:solidFill>
                <a:latin typeface="Century Gothic" panose="020B0502020202020204" pitchFamily="34" charset="0"/>
              </a:rPr>
              <a:t>JSW GUIDING PRINCIPLES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4427" y="1115798"/>
            <a:ext cx="4804339" cy="3042749"/>
          </a:xfrm>
          <a:prstGeom prst="rect">
            <a:avLst/>
          </a:prstGeom>
        </p:spPr>
      </p:pic>
      <p:sp>
        <p:nvSpPr>
          <p:cNvPr id="13" name="Rounded Rectangle 12"/>
          <p:cNvSpPr/>
          <p:nvPr/>
        </p:nvSpPr>
        <p:spPr>
          <a:xfrm>
            <a:off x="1583228" y="4106742"/>
            <a:ext cx="3652374" cy="3211868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4862" tIns="54862" rIns="54862" bIns="54862" numCol="1" spcCol="38100" rtlCol="0" anchor="ctr">
            <a:spAutoFit/>
          </a:bodyPr>
          <a:lstStyle/>
          <a:p>
            <a:pPr algn="ctr"/>
            <a:endParaRPr lang="en-IN" sz="2592" dirty="0">
              <a:solidFill>
                <a:srgbClr val="18479F"/>
              </a:solidFill>
              <a:latin typeface="Century Gothic" panose="020B0502020202020204" pitchFamily="34" charset="0"/>
            </a:endParaRPr>
          </a:p>
          <a:p>
            <a:pPr algn="ctr"/>
            <a:endParaRPr lang="en-IN" sz="2592" dirty="0" smtClean="0">
              <a:solidFill>
                <a:srgbClr val="18479F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en-IN" sz="2592" dirty="0" smtClean="0">
                <a:solidFill>
                  <a:srgbClr val="18479F"/>
                </a:solidFill>
                <a:latin typeface="Century Gothic" panose="020B0502020202020204" pitchFamily="34" charset="0"/>
              </a:rPr>
              <a:t>Global </a:t>
            </a:r>
            <a:r>
              <a:rPr lang="en-IN" sz="2592" dirty="0">
                <a:solidFill>
                  <a:srgbClr val="18479F"/>
                </a:solidFill>
                <a:latin typeface="Century Gothic" panose="020B0502020202020204" pitchFamily="34" charset="0"/>
              </a:rPr>
              <a:t>recognition for Quality&amp; Efficiency while nurturing Nature and Society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583229" y="4550397"/>
            <a:ext cx="3652374" cy="480127"/>
          </a:xfrm>
          <a:prstGeom prst="rect">
            <a:avLst/>
          </a:prstGeom>
          <a:solidFill>
            <a:srgbClr val="18479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4862" tIns="54862" rIns="54862" bIns="54862" numCol="1" spcCol="38100" rtlCol="0" anchor="ctr">
            <a:spAutoFit/>
          </a:bodyPr>
          <a:lstStyle/>
          <a:p>
            <a:pPr algn="ctr"/>
            <a:r>
              <a:rPr lang="en-IN" sz="2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VISION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5650999" y="4104450"/>
            <a:ext cx="3652374" cy="3211868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4862" tIns="54862" rIns="54862" bIns="54862" numCol="1" spcCol="38100" rtlCol="0" anchor="ctr">
            <a:spAutoFit/>
          </a:bodyPr>
          <a:lstStyle/>
          <a:p>
            <a:pPr algn="ctr"/>
            <a:endParaRPr lang="en-IN" sz="2592" dirty="0">
              <a:solidFill>
                <a:srgbClr val="18479F"/>
              </a:solidFill>
              <a:latin typeface="Century Gothic" panose="020B0502020202020204" pitchFamily="34" charset="0"/>
            </a:endParaRPr>
          </a:p>
          <a:p>
            <a:pPr algn="ctr"/>
            <a:endParaRPr lang="en-IN" sz="2592" dirty="0" smtClean="0">
              <a:solidFill>
                <a:srgbClr val="18479F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en-IN" sz="2592" dirty="0" smtClean="0">
                <a:solidFill>
                  <a:srgbClr val="18479F"/>
                </a:solidFill>
                <a:latin typeface="Century Gothic" panose="020B0502020202020204" pitchFamily="34" charset="0"/>
              </a:rPr>
              <a:t>Supporting </a:t>
            </a:r>
            <a:r>
              <a:rPr lang="en-IN" sz="2592" dirty="0">
                <a:solidFill>
                  <a:srgbClr val="18479F"/>
                </a:solidFill>
                <a:latin typeface="Century Gothic" panose="020B0502020202020204" pitchFamily="34" charset="0"/>
              </a:rPr>
              <a:t>India’s growth in core economic sectors with Speed and Innovation</a:t>
            </a:r>
          </a:p>
        </p:txBody>
      </p:sp>
      <p:sp>
        <p:nvSpPr>
          <p:cNvPr id="17" name="Rectangle 16"/>
          <p:cNvSpPr/>
          <p:nvPr/>
        </p:nvSpPr>
        <p:spPr>
          <a:xfrm>
            <a:off x="5651000" y="4548105"/>
            <a:ext cx="3652374" cy="480127"/>
          </a:xfrm>
          <a:prstGeom prst="rect">
            <a:avLst/>
          </a:prstGeom>
          <a:solidFill>
            <a:srgbClr val="18479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4862" tIns="54862" rIns="54862" bIns="54862" numCol="1" spcCol="38100" rtlCol="0" anchor="ctr">
            <a:spAutoFit/>
          </a:bodyPr>
          <a:lstStyle/>
          <a:p>
            <a:pPr algn="ctr"/>
            <a:r>
              <a:rPr lang="en-IN" sz="2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MISSION</a:t>
            </a:r>
          </a:p>
        </p:txBody>
      </p:sp>
      <p:sp>
        <p:nvSpPr>
          <p:cNvPr id="18" name="Rounded Rectangle 17"/>
          <p:cNvSpPr/>
          <p:nvPr/>
        </p:nvSpPr>
        <p:spPr>
          <a:xfrm>
            <a:off x="9718767" y="4045723"/>
            <a:ext cx="3652374" cy="3267131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4862" tIns="54862" rIns="54862" bIns="54862" numCol="1" spcCol="38100" rtlCol="0" anchor="ctr">
            <a:spAutoFit/>
          </a:bodyPr>
          <a:lstStyle/>
          <a:p>
            <a:pPr algn="ctr"/>
            <a:endParaRPr lang="en-IN" sz="2592" dirty="0">
              <a:solidFill>
                <a:srgbClr val="18479F"/>
              </a:solidFill>
              <a:latin typeface="Century Gothic" panose="020B0502020202020204" pitchFamily="34" charset="0"/>
            </a:endParaRPr>
          </a:p>
          <a:p>
            <a:pPr algn="ctr">
              <a:spcAft>
                <a:spcPts val="720"/>
              </a:spcAft>
            </a:pPr>
            <a:endParaRPr lang="en-IN" sz="2592" u="sng" dirty="0" smtClean="0">
              <a:solidFill>
                <a:srgbClr val="18479F"/>
              </a:solidFill>
              <a:latin typeface="Century Gothic" panose="020B0502020202020204" pitchFamily="34" charset="0"/>
            </a:endParaRPr>
          </a:p>
          <a:p>
            <a:pPr algn="ctr">
              <a:spcAft>
                <a:spcPts val="720"/>
              </a:spcAft>
            </a:pPr>
            <a:r>
              <a:rPr lang="en-IN" sz="2592" dirty="0" smtClean="0">
                <a:solidFill>
                  <a:srgbClr val="18479F"/>
                </a:solidFill>
                <a:latin typeface="Century Gothic" panose="020B0502020202020204" pitchFamily="34" charset="0"/>
              </a:rPr>
              <a:t>Transparency</a:t>
            </a:r>
            <a:endParaRPr lang="en-IN" sz="2592" dirty="0">
              <a:solidFill>
                <a:srgbClr val="18479F"/>
              </a:solidFill>
              <a:latin typeface="Century Gothic" panose="020B0502020202020204" pitchFamily="34" charset="0"/>
            </a:endParaRPr>
          </a:p>
          <a:p>
            <a:pPr algn="ctr">
              <a:spcAft>
                <a:spcPts val="720"/>
              </a:spcAft>
            </a:pPr>
            <a:r>
              <a:rPr lang="en-IN" sz="2592" dirty="0">
                <a:solidFill>
                  <a:srgbClr val="18479F"/>
                </a:solidFill>
                <a:latin typeface="Century Gothic" panose="020B0502020202020204" pitchFamily="34" charset="0"/>
              </a:rPr>
              <a:t>Strive for Excellence</a:t>
            </a:r>
          </a:p>
          <a:p>
            <a:pPr algn="ctr">
              <a:spcAft>
                <a:spcPts val="720"/>
              </a:spcAft>
            </a:pPr>
            <a:r>
              <a:rPr lang="en-IN" sz="2592" dirty="0">
                <a:solidFill>
                  <a:srgbClr val="18479F"/>
                </a:solidFill>
                <a:latin typeface="Century Gothic" panose="020B0502020202020204" pitchFamily="34" charset="0"/>
              </a:rPr>
              <a:t>Passion for </a:t>
            </a:r>
            <a:r>
              <a:rPr lang="en-IN" sz="2592" dirty="0" smtClean="0">
                <a:solidFill>
                  <a:srgbClr val="18479F"/>
                </a:solidFill>
                <a:latin typeface="Century Gothic" panose="020B0502020202020204" pitchFamily="34" charset="0"/>
              </a:rPr>
              <a:t>Learning</a:t>
            </a:r>
            <a:endParaRPr lang="en-IN" sz="2592" dirty="0">
              <a:solidFill>
                <a:srgbClr val="18479F"/>
              </a:solidFill>
              <a:latin typeface="Century Gothic" panose="020B0502020202020204" pitchFamily="34" charset="0"/>
            </a:endParaRPr>
          </a:p>
          <a:p>
            <a:pPr algn="ctr">
              <a:spcAft>
                <a:spcPts val="720"/>
              </a:spcAft>
            </a:pPr>
            <a:endParaRPr lang="en-IN" sz="2592" u="sng" dirty="0">
              <a:solidFill>
                <a:srgbClr val="18479F"/>
              </a:solidFill>
              <a:latin typeface="Century Gothic" panose="020B0502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9718768" y="4550397"/>
            <a:ext cx="3652374" cy="480127"/>
          </a:xfrm>
          <a:prstGeom prst="rect">
            <a:avLst/>
          </a:prstGeom>
          <a:solidFill>
            <a:srgbClr val="18479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4862" tIns="54862" rIns="54862" bIns="54862" numCol="1" spcCol="38100" rtlCol="0" anchor="ctr">
            <a:spAutoFit/>
          </a:bodyPr>
          <a:lstStyle/>
          <a:p>
            <a:pPr algn="ctr"/>
            <a:r>
              <a:rPr lang="en-IN" sz="2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ORE VALUES</a:t>
            </a:r>
          </a:p>
        </p:txBody>
      </p:sp>
    </p:spTree>
    <p:extLst>
      <p:ext uri="{BB962C8B-B14F-4D97-AF65-F5344CB8AC3E}">
        <p14:creationId xmlns:p14="http://schemas.microsoft.com/office/powerpoint/2010/main" val="2448673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1380" name="Picture 4" descr="Image result for progress arrow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-249810" y="5976499"/>
            <a:ext cx="2498095" cy="1998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-1" y="306859"/>
            <a:ext cx="14630401" cy="4801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4862" tIns="54862" rIns="54862" bIns="54862" numCol="1" spcCol="38100" rtlCol="0" anchor="t">
            <a:spAutoFit/>
          </a:bodyPr>
          <a:lstStyle/>
          <a:p>
            <a:pPr algn="ctr"/>
            <a:r>
              <a:rPr lang="en-US" sz="2400" b="1" dirty="0">
                <a:solidFill>
                  <a:schemeClr val="tx1"/>
                </a:solidFill>
                <a:latin typeface="Century Gothic" panose="020B0502020202020204" pitchFamily="34" charset="0"/>
              </a:rPr>
              <a:t>OUR CONTRIBUTION TO INDIA’S PROGRESS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47878" y="1265063"/>
            <a:ext cx="12289018" cy="6770810"/>
            <a:chOff x="1706565" y="1054219"/>
            <a:chExt cx="10240848" cy="5642342"/>
          </a:xfrm>
        </p:grpSpPr>
        <p:grpSp>
          <p:nvGrpSpPr>
            <p:cNvPr id="12" name="Group 11"/>
            <p:cNvGrpSpPr/>
            <p:nvPr/>
          </p:nvGrpSpPr>
          <p:grpSpPr>
            <a:xfrm>
              <a:off x="1706565" y="1054219"/>
              <a:ext cx="10240848" cy="5421699"/>
              <a:chOff x="1746906" y="1148348"/>
              <a:chExt cx="10240848" cy="5421699"/>
            </a:xfrm>
          </p:grpSpPr>
          <p:pic>
            <p:nvPicPr>
              <p:cNvPr id="4" name="Picture 3"/>
              <p:cNvPicPr>
                <a:picLocks noChangeAspect="1"/>
              </p:cNvPicPr>
              <p:nvPr/>
            </p:nvPicPr>
            <p:blipFill rotWithShape="1">
              <a:blip r:embed="rId3" cstate="print"/>
              <a:srcRect t="13740"/>
              <a:stretch/>
            </p:blipFill>
            <p:spPr>
              <a:xfrm>
                <a:off x="2064332" y="3527434"/>
                <a:ext cx="2713608" cy="1555480"/>
              </a:xfrm>
              <a:prstGeom prst="rect">
                <a:avLst/>
              </a:prstGeom>
              <a:ln w="76200">
                <a:solidFill>
                  <a:schemeClr val="bg1"/>
                </a:solidFill>
              </a:ln>
            </p:spPr>
          </p:pic>
          <p:pic>
            <p:nvPicPr>
              <p:cNvPr id="5" name="Picture 4"/>
              <p:cNvPicPr>
                <a:picLocks noChangeAspect="1"/>
              </p:cNvPicPr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1746906" y="1148348"/>
                <a:ext cx="3103511" cy="2250831"/>
              </a:xfrm>
              <a:prstGeom prst="rect">
                <a:avLst/>
              </a:prstGeom>
              <a:ln w="76200">
                <a:solidFill>
                  <a:schemeClr val="bg1"/>
                </a:solidFill>
              </a:ln>
            </p:spPr>
          </p:pic>
          <p:pic>
            <p:nvPicPr>
              <p:cNvPr id="6" name="Picture 5"/>
              <p:cNvPicPr>
                <a:picLocks noChangeAspect="1"/>
              </p:cNvPicPr>
              <p:nvPr/>
            </p:nvPicPr>
            <p:blipFill rotWithShape="1">
              <a:blip r:embed="rId5" cstate="print"/>
              <a:srcRect t="20833"/>
              <a:stretch/>
            </p:blipFill>
            <p:spPr>
              <a:xfrm>
                <a:off x="4910322" y="1148348"/>
                <a:ext cx="3165231" cy="3341077"/>
              </a:xfrm>
              <a:prstGeom prst="rect">
                <a:avLst/>
              </a:prstGeom>
              <a:ln w="76200">
                <a:solidFill>
                  <a:schemeClr val="bg1"/>
                </a:solidFill>
              </a:ln>
            </p:spPr>
          </p:pic>
          <p:pic>
            <p:nvPicPr>
              <p:cNvPr id="7" name="Picture 6"/>
              <p:cNvPicPr>
                <a:picLocks noChangeAspect="1"/>
              </p:cNvPicPr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8234829" y="2497015"/>
                <a:ext cx="3096395" cy="2066110"/>
              </a:xfrm>
              <a:prstGeom prst="rect">
                <a:avLst/>
              </a:prstGeom>
              <a:ln w="76200">
                <a:solidFill>
                  <a:schemeClr val="bg1"/>
                </a:solidFill>
              </a:ln>
            </p:spPr>
          </p:pic>
          <p:pic>
            <p:nvPicPr>
              <p:cNvPr id="8" name="Picture 7"/>
              <p:cNvPicPr>
                <a:picLocks noChangeAspect="1"/>
              </p:cNvPicPr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4558552" y="4626943"/>
                <a:ext cx="3426535" cy="1798279"/>
              </a:xfrm>
              <a:prstGeom prst="rect">
                <a:avLst/>
              </a:prstGeom>
              <a:ln w="76200">
                <a:solidFill>
                  <a:schemeClr val="bg1"/>
                </a:solidFill>
              </a:ln>
            </p:spPr>
          </p:pic>
          <p:pic>
            <p:nvPicPr>
              <p:cNvPr id="9" name="Picture 8"/>
              <p:cNvPicPr>
                <a:picLocks noChangeAspect="1"/>
              </p:cNvPicPr>
              <p:nvPr/>
            </p:nvPicPr>
            <p:blipFill rotWithShape="1">
              <a:blip r:embed="rId8" cstate="print"/>
              <a:srcRect r="20926" b="13509"/>
              <a:stretch/>
            </p:blipFill>
            <p:spPr>
              <a:xfrm>
                <a:off x="8043031" y="4626943"/>
                <a:ext cx="3288194" cy="1943104"/>
              </a:xfrm>
              <a:prstGeom prst="rect">
                <a:avLst/>
              </a:prstGeom>
              <a:ln w="76200">
                <a:solidFill>
                  <a:schemeClr val="bg1"/>
                </a:solidFill>
              </a:ln>
            </p:spPr>
          </p:pic>
          <p:pic>
            <p:nvPicPr>
              <p:cNvPr id="10" name="Picture 9"/>
              <p:cNvPicPr>
                <a:picLocks noChangeAspect="1"/>
              </p:cNvPicPr>
              <p:nvPr/>
            </p:nvPicPr>
            <p:blipFill rotWithShape="1">
              <a:blip r:embed="rId9" cstate="print"/>
              <a:srcRect t="26031" b="21536"/>
              <a:stretch/>
            </p:blipFill>
            <p:spPr>
              <a:xfrm>
                <a:off x="8234829" y="1148348"/>
                <a:ext cx="3752925" cy="1428294"/>
              </a:xfrm>
              <a:prstGeom prst="rect">
                <a:avLst/>
              </a:prstGeom>
              <a:ln w="76200">
                <a:solidFill>
                  <a:schemeClr val="bg1"/>
                </a:solidFill>
              </a:ln>
            </p:spPr>
          </p:pic>
        </p:grpSp>
        <p:pic>
          <p:nvPicPr>
            <p:cNvPr id="13" name="Picture 2" descr="https://pbs.twimg.com/media/C-5N_xiXgAEEaX9.jpg"/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673" b="3127"/>
            <a:stretch/>
          </p:blipFill>
          <p:spPr bwMode="auto">
            <a:xfrm>
              <a:off x="1711674" y="4988785"/>
              <a:ext cx="2748593" cy="17077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64300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C5149F0-75A5-4141-AAE3-49E215B66B35}" type="slidenum">
              <a:rPr lang="en-US" altLang="en-US" smtClean="0"/>
              <a:pPr>
                <a:defRPr/>
              </a:pPr>
              <a:t>5</a:t>
            </a:fld>
            <a:endParaRPr lang="en-US" alt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79" y="0"/>
            <a:ext cx="14606921" cy="822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3525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-1" y="306859"/>
            <a:ext cx="14630401" cy="4801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4862" tIns="54862" rIns="54862" bIns="54862" numCol="1" spcCol="38100" rtlCol="0" anchor="t">
            <a:spAutoFit/>
          </a:bodyPr>
          <a:lstStyle/>
          <a:p>
            <a:pPr algn="ctr"/>
            <a:r>
              <a:rPr lang="en-US" sz="2400" b="1" dirty="0">
                <a:latin typeface="Century Gothic" panose="020B0502020202020204" pitchFamily="34" charset="0"/>
              </a:rPr>
              <a:t>THE JOURNEY OF JSW CEMENT</a:t>
            </a:r>
          </a:p>
        </p:txBody>
      </p:sp>
      <p:graphicFrame>
        <p:nvGraphicFramePr>
          <p:cNvPr id="5" name="Object 4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2016647"/>
              </p:ext>
            </p:extLst>
          </p:nvPr>
        </p:nvGraphicFramePr>
        <p:xfrm>
          <a:off x="822960" y="2509378"/>
          <a:ext cx="12561506" cy="49265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408" name="Chart" r:id="rId7" imgW="10467870" imgH="4105392" progId="MSGraph.Chart.8">
                  <p:embed followColorScheme="full"/>
                </p:oleObj>
              </mc:Choice>
              <mc:Fallback>
                <p:oleObj name="Chart" r:id="rId7" imgW="10467870" imgH="4105392" progId="MSGraph.Chart.8">
                  <p:embed followColorScheme="full"/>
                  <p:pic>
                    <p:nvPicPr>
                      <p:cNvPr id="5" name="Object 4"/>
                      <p:cNvPicPr>
                        <a:picLocks noChangeArrowheads="1"/>
                      </p:cNvPicPr>
                      <p:nvPr/>
                    </p:nvPicPr>
                    <p:blipFill>
                      <a:blip r:embed="rId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22960" y="2509378"/>
                        <a:ext cx="12561506" cy="4926506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Shape 3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078493" y="7624813"/>
            <a:ext cx="473411" cy="425855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28600" marR="0" indent="-2286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685800" marR="0" indent="-2286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143000" marR="0" indent="-2286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600200" marR="0" indent="-2286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057400" marR="0" indent="-2286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2489200" marR="0" indent="-2032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2946400" marR="0" indent="-2032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3403600" marR="0" indent="-2032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3860800" marR="0" indent="-2032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80" b="1" dirty="0">
                <a:solidFill>
                  <a:srgbClr val="18479F"/>
                </a:solidFill>
                <a:latin typeface="Century Gothic" panose="020B0502020202020204" pitchFamily="34" charset="0"/>
                <a:sym typeface="Century Gothic" panose="020B0502020202020204" pitchFamily="34" charset="0"/>
              </a:rPr>
              <a:t>TIME</a:t>
            </a:r>
          </a:p>
        </p:txBody>
      </p:sp>
      <p:sp>
        <p:nvSpPr>
          <p:cNvPr id="15" name="Text Box 2"/>
          <p:cNvSpPr txBox="1">
            <a:spLocks noChangeArrowheads="1"/>
          </p:cNvSpPr>
          <p:nvPr/>
        </p:nvSpPr>
        <p:spPr bwMode="gray">
          <a:xfrm>
            <a:off x="12303070" y="7435884"/>
            <a:ext cx="868680" cy="2190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680" b="1" dirty="0">
                <a:latin typeface="Century Gothic" panose="020B0502020202020204" pitchFamily="34" charset="0"/>
              </a:rPr>
              <a:t>Future </a:t>
            </a:r>
            <a:r>
              <a:rPr lang="en-US" sz="1680" b="1" dirty="0">
                <a:latin typeface="Century Gothic" panose="020B0502020202020204" pitchFamily="34" charset="0"/>
                <a:sym typeface="Wingdings" panose="05000000000000000000" pitchFamily="2" charset="2"/>
              </a:rPr>
              <a:t></a:t>
            </a:r>
            <a:endParaRPr lang="en-US" sz="1680" b="1" dirty="0">
              <a:latin typeface="Century Gothic" panose="020B0502020202020204" pitchFamily="34" charset="0"/>
            </a:endParaRPr>
          </a:p>
        </p:txBody>
      </p:sp>
      <p:grpSp>
        <p:nvGrpSpPr>
          <p:cNvPr id="50" name="Group 49"/>
          <p:cNvGrpSpPr/>
          <p:nvPr/>
        </p:nvGrpSpPr>
        <p:grpSpPr>
          <a:xfrm>
            <a:off x="1039651" y="5113706"/>
            <a:ext cx="1358570" cy="2502113"/>
            <a:chOff x="866376" y="4261422"/>
            <a:chExt cx="1132142" cy="2085094"/>
          </a:xfrm>
        </p:grpSpPr>
        <p:sp>
          <p:nvSpPr>
            <p:cNvPr id="9" name="Text Box 2"/>
            <p:cNvSpPr txBox="1">
              <a:spLocks noChangeArrowheads="1"/>
            </p:cNvSpPr>
            <p:nvPr/>
          </p:nvSpPr>
          <p:spPr bwMode="gray">
            <a:xfrm>
              <a:off x="866376" y="6163953"/>
              <a:ext cx="723900" cy="1825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680" b="1" dirty="0">
                  <a:latin typeface="Century Gothic" panose="020B0502020202020204" pitchFamily="34" charset="0"/>
                </a:rPr>
                <a:t>2009</a:t>
              </a:r>
            </a:p>
          </p:txBody>
        </p:sp>
        <p:sp>
          <p:nvSpPr>
            <p:cNvPr id="17" name="Line Callout 3 16"/>
            <p:cNvSpPr/>
            <p:nvPr/>
          </p:nvSpPr>
          <p:spPr>
            <a:xfrm>
              <a:off x="1123405" y="5014068"/>
              <a:ext cx="875113" cy="600161"/>
            </a:xfrm>
            <a:prstGeom prst="borderCallout3">
              <a:avLst>
                <a:gd name="adj1" fmla="val 18750"/>
                <a:gd name="adj2" fmla="val -8333"/>
                <a:gd name="adj3" fmla="val 18750"/>
                <a:gd name="adj4" fmla="val -16667"/>
                <a:gd name="adj5" fmla="val 100000"/>
                <a:gd name="adj6" fmla="val -16667"/>
                <a:gd name="adj7" fmla="val 158070"/>
                <a:gd name="adj8" fmla="val 17799"/>
              </a:avLst>
            </a:prstGeom>
            <a:solidFill>
              <a:srgbClr val="FFFFFF"/>
            </a:solidFill>
            <a:ln w="25400" cap="flat">
              <a:solidFill>
                <a:srgbClr val="0070C0"/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862" tIns="54862" rIns="54862" bIns="54862" numCol="1" spcCol="38100" rtlCol="0" anchor="ctr">
              <a:spAutoFit/>
            </a:bodyPr>
            <a:lstStyle/>
            <a:p>
              <a:pPr algn="ctr"/>
              <a:r>
                <a:rPr lang="en-IN" sz="1320" dirty="0">
                  <a:latin typeface="Century Gothic" panose="020B0502020202020204" pitchFamily="34" charset="0"/>
                </a:rPr>
                <a:t>JSW PSC launch - Karnataka</a:t>
              </a:r>
            </a:p>
          </p:txBody>
        </p:sp>
        <p:pic>
          <p:nvPicPr>
            <p:cNvPr id="20" name="Picture 5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64586" y="4261422"/>
              <a:ext cx="551336" cy="6669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1" name="Group 50"/>
          <p:cNvGrpSpPr/>
          <p:nvPr/>
        </p:nvGrpSpPr>
        <p:grpSpPr>
          <a:xfrm>
            <a:off x="2657207" y="3359865"/>
            <a:ext cx="1148578" cy="4255955"/>
            <a:chOff x="2214339" y="2799887"/>
            <a:chExt cx="957148" cy="3546629"/>
          </a:xfrm>
        </p:grpSpPr>
        <p:sp>
          <p:nvSpPr>
            <p:cNvPr id="10" name="Text Box 2"/>
            <p:cNvSpPr txBox="1">
              <a:spLocks noChangeArrowheads="1"/>
            </p:cNvSpPr>
            <p:nvPr/>
          </p:nvSpPr>
          <p:spPr bwMode="gray">
            <a:xfrm>
              <a:off x="2312031" y="6163953"/>
              <a:ext cx="723900" cy="1825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680" b="1" dirty="0">
                  <a:latin typeface="Century Gothic" panose="020B0502020202020204" pitchFamily="34" charset="0"/>
                </a:rPr>
                <a:t>2012</a:t>
              </a:r>
            </a:p>
          </p:txBody>
        </p:sp>
        <p:sp>
          <p:nvSpPr>
            <p:cNvPr id="18" name="Line Callout 3 17"/>
            <p:cNvSpPr/>
            <p:nvPr/>
          </p:nvSpPr>
          <p:spPr>
            <a:xfrm>
              <a:off x="2214339" y="3534366"/>
              <a:ext cx="957148" cy="1107992"/>
            </a:xfrm>
            <a:prstGeom prst="borderCallout3">
              <a:avLst>
                <a:gd name="adj1" fmla="val 18750"/>
                <a:gd name="adj2" fmla="val -8333"/>
                <a:gd name="adj3" fmla="val 18750"/>
                <a:gd name="adj4" fmla="val -16667"/>
                <a:gd name="adj5" fmla="val 100000"/>
                <a:gd name="adj6" fmla="val -16667"/>
                <a:gd name="adj7" fmla="val 184168"/>
                <a:gd name="adj8" fmla="val 42720"/>
              </a:avLst>
            </a:prstGeom>
            <a:solidFill>
              <a:srgbClr val="FFFFFF"/>
            </a:solidFill>
            <a:ln w="25400" cap="flat">
              <a:solidFill>
                <a:srgbClr val="0070C0"/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862" tIns="54862" rIns="54862" bIns="54862" numCol="1" spcCol="38100" rtlCol="0" anchor="ctr">
              <a:spAutoFit/>
            </a:bodyPr>
            <a:lstStyle/>
            <a:p>
              <a:pPr algn="ctr"/>
              <a:r>
                <a:rPr lang="en-IN" sz="1320" dirty="0">
                  <a:latin typeface="Century Gothic" panose="020B0502020202020204" pitchFamily="34" charset="0"/>
                </a:rPr>
                <a:t>New plant established at </a:t>
              </a:r>
              <a:r>
                <a:rPr lang="en-IN" sz="1320" dirty="0" err="1">
                  <a:latin typeface="Century Gothic" panose="020B0502020202020204" pitchFamily="34" charset="0"/>
                </a:rPr>
                <a:t>Nandyal</a:t>
              </a:r>
              <a:r>
                <a:rPr lang="en-IN" sz="1320" dirty="0">
                  <a:latin typeface="Century Gothic" panose="020B0502020202020204" pitchFamily="34" charset="0"/>
                </a:rPr>
                <a:t> marking entry into South India</a:t>
              </a:r>
            </a:p>
          </p:txBody>
        </p:sp>
        <p:pic>
          <p:nvPicPr>
            <p:cNvPr id="21" name="Picture 20"/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359"/>
            <a:stretch/>
          </p:blipFill>
          <p:spPr>
            <a:xfrm>
              <a:off x="2255049" y="2799887"/>
              <a:ext cx="916438" cy="691780"/>
            </a:xfrm>
            <a:prstGeom prst="roundRect">
              <a:avLst/>
            </a:prstGeom>
          </p:spPr>
        </p:pic>
      </p:grpSp>
      <p:grpSp>
        <p:nvGrpSpPr>
          <p:cNvPr id="53" name="Group 52"/>
          <p:cNvGrpSpPr/>
          <p:nvPr/>
        </p:nvGrpSpPr>
        <p:grpSpPr>
          <a:xfrm>
            <a:off x="4277165" y="3081237"/>
            <a:ext cx="1362882" cy="4534583"/>
            <a:chOff x="3564304" y="2567697"/>
            <a:chExt cx="1135735" cy="3778819"/>
          </a:xfrm>
        </p:grpSpPr>
        <p:sp>
          <p:nvSpPr>
            <p:cNvPr id="11" name="Text Box 2"/>
            <p:cNvSpPr txBox="1">
              <a:spLocks noChangeArrowheads="1"/>
            </p:cNvSpPr>
            <p:nvPr/>
          </p:nvSpPr>
          <p:spPr bwMode="gray">
            <a:xfrm>
              <a:off x="3703434" y="6163953"/>
              <a:ext cx="723900" cy="1825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680" b="1" dirty="0">
                  <a:latin typeface="Century Gothic" panose="020B0502020202020204" pitchFamily="34" charset="0"/>
                </a:rPr>
                <a:t>2014</a:t>
              </a:r>
            </a:p>
          </p:txBody>
        </p:sp>
        <p:sp>
          <p:nvSpPr>
            <p:cNvPr id="22" name="Line Callout 3 21"/>
            <p:cNvSpPr/>
            <p:nvPr/>
          </p:nvSpPr>
          <p:spPr>
            <a:xfrm>
              <a:off x="3690642" y="3335770"/>
              <a:ext cx="883059" cy="938715"/>
            </a:xfrm>
            <a:prstGeom prst="borderCallout3">
              <a:avLst>
                <a:gd name="adj1" fmla="val 18750"/>
                <a:gd name="adj2" fmla="val -8333"/>
                <a:gd name="adj3" fmla="val 18750"/>
                <a:gd name="adj4" fmla="val -16667"/>
                <a:gd name="adj5" fmla="val 100000"/>
                <a:gd name="adj6" fmla="val -16667"/>
                <a:gd name="adj7" fmla="val 173816"/>
                <a:gd name="adj8" fmla="val 33387"/>
              </a:avLst>
            </a:prstGeom>
            <a:solidFill>
              <a:srgbClr val="FFFFFF"/>
            </a:solidFill>
            <a:ln w="25400" cap="flat">
              <a:solidFill>
                <a:srgbClr val="0070C0"/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862" tIns="54862" rIns="54862" bIns="54862" numCol="1" spcCol="38100" rtlCol="0" anchor="ctr">
              <a:spAutoFit/>
            </a:bodyPr>
            <a:lstStyle/>
            <a:p>
              <a:pPr algn="ctr"/>
              <a:r>
                <a:rPr lang="en-IN" sz="1320" dirty="0">
                  <a:latin typeface="Century Gothic" panose="020B0502020202020204" pitchFamily="34" charset="0"/>
                </a:rPr>
                <a:t>Launch of new brand campaign:</a:t>
              </a:r>
              <a:r>
                <a:rPr lang="en-IN" sz="1320" i="1" dirty="0">
                  <a:latin typeface="Century Gothic" panose="020B0502020202020204" pitchFamily="34" charset="0"/>
                </a:rPr>
                <a:t> </a:t>
              </a:r>
              <a:r>
                <a:rPr lang="en-IN" sz="1320" i="1" dirty="0" err="1">
                  <a:latin typeface="Century Gothic" panose="020B0502020202020204" pitchFamily="34" charset="0"/>
                </a:rPr>
                <a:t>Banao</a:t>
              </a:r>
              <a:r>
                <a:rPr lang="en-IN" sz="1320" i="1" dirty="0">
                  <a:latin typeface="Century Gothic" panose="020B0502020202020204" pitchFamily="34" charset="0"/>
                </a:rPr>
                <a:t> </a:t>
              </a:r>
              <a:r>
                <a:rPr lang="en-IN" sz="1320" i="1" dirty="0" err="1">
                  <a:latin typeface="Century Gothic" panose="020B0502020202020204" pitchFamily="34" charset="0"/>
                </a:rPr>
                <a:t>Pyaar</a:t>
              </a:r>
              <a:r>
                <a:rPr lang="en-IN" sz="1320" i="1" dirty="0">
                  <a:latin typeface="Century Gothic" panose="020B0502020202020204" pitchFamily="34" charset="0"/>
                </a:rPr>
                <a:t> Se</a:t>
              </a:r>
            </a:p>
          </p:txBody>
        </p:sp>
        <p:pic>
          <p:nvPicPr>
            <p:cNvPr id="23" name="Picture 22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564304" y="2567697"/>
              <a:ext cx="1135735" cy="707531"/>
            </a:xfrm>
            <a:prstGeom prst="roundRect">
              <a:avLst/>
            </a:prstGeom>
          </p:spPr>
        </p:pic>
      </p:grpSp>
      <p:sp>
        <p:nvSpPr>
          <p:cNvPr id="24" name="Shape 3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 flipV="1">
            <a:off x="611506" y="4269599"/>
            <a:ext cx="219076" cy="1384936"/>
          </a:xfrm>
          <a:prstGeom prst="rect">
            <a:avLst/>
          </a:prstGeom>
          <a:noFill/>
          <a:ln w="12700"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eaVert" wrap="none" lIns="0" tIns="0" rIns="0" bIns="0" numCol="1" spcCol="0" anchor="b" anchorCtr="0">
            <a:noAutofit/>
          </a:bodyPr>
          <a:lstStyle>
            <a:lvl1pPr marL="228600" marR="0" indent="-2286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685800" marR="0" indent="-2286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143000" marR="0" indent="-2286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600200" marR="0" indent="-2286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2057400" marR="0" indent="-2286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2489200" marR="0" indent="-2032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2946400" marR="0" indent="-2032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3403600" marR="0" indent="-2032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3860800" marR="0" indent="-203200" algn="l" defTabSz="914400" rtl="0" latinLnBrk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80" b="1" dirty="0">
                <a:solidFill>
                  <a:srgbClr val="18479F"/>
                </a:solidFill>
                <a:latin typeface="Century Gothic" panose="020B0502020202020204" pitchFamily="34" charset="0"/>
                <a:sym typeface="Century Gothic" panose="020B0502020202020204" pitchFamily="34" charset="0"/>
              </a:rPr>
              <a:t>SALES VOLUMES</a:t>
            </a:r>
            <a:endParaRPr lang="en-US" sz="1680" b="1" dirty="0">
              <a:solidFill>
                <a:srgbClr val="18479F"/>
              </a:solidFill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743195" y="1092274"/>
            <a:ext cx="2200882" cy="7139147"/>
            <a:chOff x="9785996" y="910228"/>
            <a:chExt cx="1834068" cy="5949289"/>
          </a:xfrm>
        </p:grpSpPr>
        <p:sp>
          <p:nvSpPr>
            <p:cNvPr id="19" name="Rounded Rectangle 18"/>
            <p:cNvSpPr/>
            <p:nvPr/>
          </p:nvSpPr>
          <p:spPr>
            <a:xfrm>
              <a:off x="9785996" y="910228"/>
              <a:ext cx="1593668" cy="715086"/>
            </a:xfrm>
            <a:prstGeom prst="roundRect">
              <a:avLst/>
            </a:prstGeom>
            <a:solidFill>
              <a:srgbClr val="FF0000"/>
            </a:solidFill>
            <a:ln w="25400" cap="flat">
              <a:solidFill>
                <a:srgbClr val="18479F"/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862" tIns="54862" rIns="54862" bIns="54862" numCol="1" spcCol="38100" rtlCol="0" anchor="ctr">
              <a:spAutoFit/>
            </a:bodyPr>
            <a:lstStyle/>
            <a:p>
              <a:pPr algn="ctr"/>
              <a:r>
                <a:rPr lang="en-IN" sz="1440" b="1" u="sng" dirty="0">
                  <a:latin typeface="Century Gothic" panose="020B0502020202020204" pitchFamily="34" charset="0"/>
                </a:rPr>
                <a:t>VISION 2020</a:t>
              </a:r>
            </a:p>
            <a:p>
              <a:pPr algn="ctr"/>
              <a:r>
                <a:rPr lang="en-IN" sz="1440" b="1" dirty="0">
                  <a:latin typeface="Century Gothic" panose="020B0502020202020204" pitchFamily="34" charset="0"/>
                </a:rPr>
                <a:t>To  become a 20 MMT company</a:t>
              </a:r>
            </a:p>
          </p:txBody>
        </p:sp>
        <p:grpSp>
          <p:nvGrpSpPr>
            <p:cNvPr id="56" name="Group 55"/>
            <p:cNvGrpSpPr/>
            <p:nvPr/>
          </p:nvGrpSpPr>
          <p:grpSpPr>
            <a:xfrm>
              <a:off x="10548910" y="1593532"/>
              <a:ext cx="1071154" cy="5265985"/>
              <a:chOff x="10083841" y="1385146"/>
              <a:chExt cx="1071154" cy="5265985"/>
            </a:xfrm>
          </p:grpSpPr>
          <p:sp>
            <p:nvSpPr>
              <p:cNvPr id="8" name="Line 3"/>
              <p:cNvSpPr>
                <a:spLocks noChangeShapeType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10115736" y="1385146"/>
                <a:ext cx="0" cy="526598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prstDash val="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440">
                  <a:latin typeface="Century Gothic" panose="020B0502020202020204" pitchFamily="34" charset="0"/>
                </a:endParaRPr>
              </a:p>
            </p:txBody>
          </p:sp>
          <p:sp>
            <p:nvSpPr>
              <p:cNvPr id="45" name="Right Arrow 44"/>
              <p:cNvSpPr/>
              <p:nvPr/>
            </p:nvSpPr>
            <p:spPr>
              <a:xfrm rot="20955192">
                <a:off x="10083841" y="1539729"/>
                <a:ext cx="1071154" cy="733657"/>
              </a:xfrm>
              <a:prstGeom prst="rightArrow">
                <a:avLst/>
              </a:prstGeom>
              <a:solidFill>
                <a:srgbClr val="18479F"/>
              </a:solidFill>
              <a:ln w="25400" cap="flat">
                <a:solidFill>
                  <a:srgbClr val="18479F"/>
                </a:solidFill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4862" tIns="54862" rIns="54862" bIns="54862" numCol="1" spcCol="38100" rtlCol="0" anchor="ctr">
                <a:spAutoFit/>
              </a:bodyPr>
              <a:lstStyle/>
              <a:p>
                <a:endParaRPr lang="en-IN"/>
              </a:p>
            </p:txBody>
          </p:sp>
        </p:grpSp>
      </p:grpSp>
      <p:sp>
        <p:nvSpPr>
          <p:cNvPr id="46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14431635" y="7901624"/>
            <a:ext cx="92393" cy="313928"/>
          </a:xfrm>
        </p:spPr>
        <p:txBody>
          <a:bodyPr/>
          <a:lstStyle/>
          <a:p>
            <a:pPr>
              <a:defRPr/>
            </a:pPr>
            <a:endParaRPr lang="en-US" altLang="en-US" sz="1440" dirty="0">
              <a:latin typeface="Century Gothic" panose="020B0502020202020204" pitchFamily="34" charset="0"/>
            </a:endParaRPr>
          </a:p>
        </p:txBody>
      </p:sp>
      <p:grpSp>
        <p:nvGrpSpPr>
          <p:cNvPr id="54" name="Group 53"/>
          <p:cNvGrpSpPr/>
          <p:nvPr/>
        </p:nvGrpSpPr>
        <p:grpSpPr>
          <a:xfrm>
            <a:off x="6351471" y="3414836"/>
            <a:ext cx="2260607" cy="4200982"/>
            <a:chOff x="5292892" y="2845697"/>
            <a:chExt cx="1883839" cy="3500819"/>
          </a:xfrm>
        </p:grpSpPr>
        <p:sp>
          <p:nvSpPr>
            <p:cNvPr id="12" name="Text Box 2"/>
            <p:cNvSpPr txBox="1">
              <a:spLocks noChangeArrowheads="1"/>
            </p:cNvSpPr>
            <p:nvPr/>
          </p:nvSpPr>
          <p:spPr bwMode="gray">
            <a:xfrm>
              <a:off x="5600096" y="6163953"/>
              <a:ext cx="723900" cy="1825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680" b="1" dirty="0">
                  <a:latin typeface="Century Gothic" panose="020B0502020202020204" pitchFamily="34" charset="0"/>
                </a:rPr>
                <a:t>2016</a:t>
              </a:r>
            </a:p>
          </p:txBody>
        </p:sp>
        <p:sp>
          <p:nvSpPr>
            <p:cNvPr id="27" name="Line Callout 3 26"/>
            <p:cNvSpPr/>
            <p:nvPr/>
          </p:nvSpPr>
          <p:spPr>
            <a:xfrm>
              <a:off x="6075495" y="3827471"/>
              <a:ext cx="1101236" cy="600161"/>
            </a:xfrm>
            <a:prstGeom prst="borderCallout3">
              <a:avLst>
                <a:gd name="adj1" fmla="val 18750"/>
                <a:gd name="adj2" fmla="val -8333"/>
                <a:gd name="adj3" fmla="val 20927"/>
                <a:gd name="adj4" fmla="val -14797"/>
                <a:gd name="adj5" fmla="val 100000"/>
                <a:gd name="adj6" fmla="val -16667"/>
                <a:gd name="adj7" fmla="val 16300"/>
                <a:gd name="adj8" fmla="val -50826"/>
              </a:avLst>
            </a:prstGeom>
            <a:solidFill>
              <a:srgbClr val="FFFFFF"/>
            </a:solidFill>
            <a:ln w="25400" cap="flat">
              <a:solidFill>
                <a:srgbClr val="0070C0"/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862" tIns="54862" rIns="54862" bIns="54862" numCol="1" spcCol="38100" rtlCol="0" anchor="ctr">
              <a:spAutoFit/>
            </a:bodyPr>
            <a:lstStyle/>
            <a:p>
              <a:pPr algn="ctr"/>
              <a:r>
                <a:rPr lang="en-IN" sz="1320" dirty="0" err="1">
                  <a:latin typeface="Century Gothic" panose="020B0502020202020204" pitchFamily="34" charset="0"/>
                </a:rPr>
                <a:t>Concreel</a:t>
              </a:r>
              <a:r>
                <a:rPr lang="en-IN" sz="1320" dirty="0">
                  <a:latin typeface="Century Gothic" panose="020B0502020202020204" pitchFamily="34" charset="0"/>
                </a:rPr>
                <a:t> HD launch - South India</a:t>
              </a:r>
            </a:p>
          </p:txBody>
        </p:sp>
        <p:pic>
          <p:nvPicPr>
            <p:cNvPr id="31" name="Picture 30"/>
            <p:cNvPicPr>
              <a:picLocks noChangeAspect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274748" y="4500725"/>
              <a:ext cx="604947" cy="684456"/>
            </a:xfrm>
            <a:prstGeom prst="rect">
              <a:avLst/>
            </a:prstGeom>
          </p:spPr>
        </p:pic>
        <p:sp>
          <p:nvSpPr>
            <p:cNvPr id="48" name="Line Callout 3 47"/>
            <p:cNvSpPr/>
            <p:nvPr/>
          </p:nvSpPr>
          <p:spPr>
            <a:xfrm>
              <a:off x="5292892" y="2845697"/>
              <a:ext cx="875113" cy="600161"/>
            </a:xfrm>
            <a:prstGeom prst="borderCallout3">
              <a:avLst>
                <a:gd name="adj1" fmla="val 18750"/>
                <a:gd name="adj2" fmla="val -8333"/>
                <a:gd name="adj3" fmla="val 18750"/>
                <a:gd name="adj4" fmla="val -16667"/>
                <a:gd name="adj5" fmla="val 100000"/>
                <a:gd name="adj6" fmla="val -16667"/>
                <a:gd name="adj7" fmla="val 180810"/>
                <a:gd name="adj8" fmla="val 25597"/>
              </a:avLst>
            </a:prstGeom>
            <a:solidFill>
              <a:srgbClr val="FFFFFF"/>
            </a:solidFill>
            <a:ln w="25400" cap="flat">
              <a:solidFill>
                <a:srgbClr val="0070C0"/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862" tIns="54862" rIns="54862" bIns="54862" numCol="1" spcCol="38100" rtlCol="0" anchor="ctr">
              <a:spAutoFit/>
            </a:bodyPr>
            <a:lstStyle/>
            <a:p>
              <a:pPr algn="ctr"/>
              <a:r>
                <a:rPr lang="en-IN" sz="1320" dirty="0">
                  <a:latin typeface="Century Gothic" panose="020B0502020202020204" pitchFamily="34" charset="0"/>
                </a:rPr>
                <a:t>JSW PSC launch - East</a:t>
              </a:r>
            </a:p>
          </p:txBody>
        </p:sp>
      </p:grpSp>
      <p:sp>
        <p:nvSpPr>
          <p:cNvPr id="13" name="Text Box 2"/>
          <p:cNvSpPr txBox="1">
            <a:spLocks noChangeArrowheads="1"/>
          </p:cNvSpPr>
          <p:nvPr/>
        </p:nvSpPr>
        <p:spPr bwMode="gray">
          <a:xfrm>
            <a:off x="9548999" y="7396744"/>
            <a:ext cx="868680" cy="2190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680" b="1" dirty="0">
                <a:latin typeface="Century Gothic" panose="020B0502020202020204" pitchFamily="34" charset="0"/>
              </a:rPr>
              <a:t>2017</a:t>
            </a:r>
          </a:p>
        </p:txBody>
      </p:sp>
      <p:sp>
        <p:nvSpPr>
          <p:cNvPr id="33" name="Line Callout 3 32"/>
          <p:cNvSpPr/>
          <p:nvPr/>
        </p:nvSpPr>
        <p:spPr>
          <a:xfrm>
            <a:off x="9847762" y="1387324"/>
            <a:ext cx="1835378" cy="1126458"/>
          </a:xfrm>
          <a:prstGeom prst="borderCallout3">
            <a:avLst>
              <a:gd name="adj1" fmla="val 18750"/>
              <a:gd name="adj2" fmla="val -8333"/>
              <a:gd name="adj3" fmla="val 18750"/>
              <a:gd name="adj4" fmla="val -16667"/>
              <a:gd name="adj5" fmla="val 100000"/>
              <a:gd name="adj6" fmla="val -16667"/>
              <a:gd name="adj7" fmla="val 151887"/>
              <a:gd name="adj8" fmla="val -4291"/>
            </a:avLst>
          </a:prstGeom>
          <a:solidFill>
            <a:schemeClr val="bg1">
              <a:lumMod val="95000"/>
            </a:schemeClr>
          </a:solidFill>
          <a:ln w="25400" cap="flat">
            <a:solidFill>
              <a:srgbClr val="0070C0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4862" tIns="54862" rIns="54862" bIns="54862" numCol="1" spcCol="38100" rtlCol="0" anchor="ctr">
            <a:spAutoFit/>
          </a:bodyPr>
          <a:lstStyle/>
          <a:p>
            <a:pPr algn="ctr"/>
            <a:r>
              <a:rPr lang="en-IN" sz="1320" dirty="0">
                <a:latin typeface="Century Gothic" panose="020B0502020202020204" pitchFamily="34" charset="0"/>
              </a:rPr>
              <a:t>Commissioning of </a:t>
            </a:r>
            <a:r>
              <a:rPr lang="en-IN" sz="1320" dirty="0" err="1">
                <a:latin typeface="Century Gothic" panose="020B0502020202020204" pitchFamily="34" charset="0"/>
              </a:rPr>
              <a:t>Salboni</a:t>
            </a:r>
            <a:r>
              <a:rPr lang="en-IN" sz="1320" dirty="0">
                <a:latin typeface="Century Gothic" panose="020B0502020202020204" pitchFamily="34" charset="0"/>
              </a:rPr>
              <a:t> in June (2.4MTPA) &amp; </a:t>
            </a:r>
            <a:r>
              <a:rPr lang="en-IN" sz="1320" dirty="0" err="1">
                <a:latin typeface="Century Gothic" panose="020B0502020202020204" pitchFamily="34" charset="0"/>
              </a:rPr>
              <a:t>Dolvi</a:t>
            </a:r>
            <a:endParaRPr lang="en-IN" sz="1320" dirty="0">
              <a:latin typeface="Century Gothic" panose="020B0502020202020204" pitchFamily="34" charset="0"/>
            </a:endParaRPr>
          </a:p>
          <a:p>
            <a:pPr algn="ctr"/>
            <a:r>
              <a:rPr lang="en-IN" sz="1320" dirty="0">
                <a:latin typeface="Century Gothic" panose="020B0502020202020204" pitchFamily="34" charset="0"/>
              </a:rPr>
              <a:t>(Additional 1.2 MTPA)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7502044" y="1447339"/>
            <a:ext cx="1961864" cy="1727772"/>
            <a:chOff x="6251703" y="1206115"/>
            <a:chExt cx="1634887" cy="1439810"/>
          </a:xfrm>
        </p:grpSpPr>
        <p:sp>
          <p:nvSpPr>
            <p:cNvPr id="29" name="Line Callout 3 28"/>
            <p:cNvSpPr/>
            <p:nvPr/>
          </p:nvSpPr>
          <p:spPr>
            <a:xfrm>
              <a:off x="6251703" y="1206115"/>
              <a:ext cx="1634887" cy="430884"/>
            </a:xfrm>
            <a:prstGeom prst="borderCallout3">
              <a:avLst>
                <a:gd name="adj1" fmla="val 18750"/>
                <a:gd name="adj2" fmla="val -8333"/>
                <a:gd name="adj3" fmla="val 18750"/>
                <a:gd name="adj4" fmla="val -16667"/>
                <a:gd name="adj5" fmla="val 100000"/>
                <a:gd name="adj6" fmla="val -16667"/>
                <a:gd name="adj7" fmla="val 427868"/>
                <a:gd name="adj8" fmla="val 43316"/>
              </a:avLst>
            </a:prstGeom>
            <a:solidFill>
              <a:srgbClr val="FFFFFF"/>
            </a:solidFill>
            <a:ln w="25400" cap="flat">
              <a:solidFill>
                <a:srgbClr val="0070C0"/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862" tIns="54862" rIns="54862" bIns="54862" numCol="1" spcCol="38100" rtlCol="0" anchor="ctr">
              <a:spAutoFit/>
            </a:bodyPr>
            <a:lstStyle/>
            <a:p>
              <a:pPr algn="ctr"/>
              <a:r>
                <a:rPr lang="en-IN" sz="1320" dirty="0" err="1">
                  <a:latin typeface="Century Gothic" panose="020B0502020202020204" pitchFamily="34" charset="0"/>
                </a:rPr>
                <a:t>Vijaynagar</a:t>
              </a:r>
              <a:r>
                <a:rPr lang="en-IN" sz="1320" dirty="0">
                  <a:latin typeface="Century Gothic" panose="020B0502020202020204" pitchFamily="34" charset="0"/>
                </a:rPr>
                <a:t> capacity </a:t>
              </a:r>
              <a:r>
                <a:rPr lang="en-IN" sz="1320" dirty="0" err="1">
                  <a:latin typeface="Century Gothic" panose="020B0502020202020204" pitchFamily="34" charset="0"/>
                </a:rPr>
                <a:t>inc.</a:t>
              </a:r>
              <a:r>
                <a:rPr lang="en-IN" sz="1320" dirty="0">
                  <a:latin typeface="Century Gothic" panose="020B0502020202020204" pitchFamily="34" charset="0"/>
                </a:rPr>
                <a:t> 2.4 MTPA</a:t>
              </a:r>
            </a:p>
          </p:txBody>
        </p:sp>
        <p:sp>
          <p:nvSpPr>
            <p:cNvPr id="35" name="Line Callout 3 34"/>
            <p:cNvSpPr/>
            <p:nvPr/>
          </p:nvSpPr>
          <p:spPr>
            <a:xfrm>
              <a:off x="6770169" y="1769863"/>
              <a:ext cx="1089933" cy="430884"/>
            </a:xfrm>
            <a:prstGeom prst="borderCallout3">
              <a:avLst>
                <a:gd name="adj1" fmla="val 18750"/>
                <a:gd name="adj2" fmla="val -8333"/>
                <a:gd name="adj3" fmla="val 18750"/>
                <a:gd name="adj4" fmla="val -16667"/>
                <a:gd name="adj5" fmla="val 100000"/>
                <a:gd name="adj6" fmla="val -16667"/>
                <a:gd name="adj7" fmla="val 292643"/>
                <a:gd name="adj8" fmla="val 32165"/>
              </a:avLst>
            </a:prstGeom>
            <a:solidFill>
              <a:srgbClr val="FFFFFF"/>
            </a:solidFill>
            <a:ln w="25400" cap="flat">
              <a:solidFill>
                <a:srgbClr val="0070C0"/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862" tIns="54862" rIns="54862" bIns="54862" numCol="1" spcCol="38100" rtlCol="0" anchor="ctr">
              <a:spAutoFit/>
            </a:bodyPr>
            <a:lstStyle/>
            <a:p>
              <a:pPr algn="ctr"/>
              <a:r>
                <a:rPr lang="en-IN" sz="1320" dirty="0">
                  <a:latin typeface="Century Gothic" panose="020B0502020202020204" pitchFamily="34" charset="0"/>
                </a:rPr>
                <a:t>Shiva Cement acquisition</a:t>
              </a:r>
            </a:p>
          </p:txBody>
        </p:sp>
        <p:pic>
          <p:nvPicPr>
            <p:cNvPr id="43" name="Picture 42"/>
            <p:cNvPicPr>
              <a:picLocks noChangeAspect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4173"/>
            <a:stretch/>
          </p:blipFill>
          <p:spPr>
            <a:xfrm>
              <a:off x="7116389" y="2277116"/>
              <a:ext cx="468223" cy="368809"/>
            </a:xfrm>
            <a:prstGeom prst="rect">
              <a:avLst/>
            </a:prstGeom>
            <a:solidFill>
              <a:srgbClr val="F9D6D2"/>
            </a:solidFill>
          </p:spPr>
        </p:pic>
      </p:grpSp>
      <p:grpSp>
        <p:nvGrpSpPr>
          <p:cNvPr id="3" name="Group 2"/>
          <p:cNvGrpSpPr/>
          <p:nvPr/>
        </p:nvGrpSpPr>
        <p:grpSpPr>
          <a:xfrm>
            <a:off x="9083873" y="3299059"/>
            <a:ext cx="1619933" cy="1460434"/>
            <a:chOff x="7569894" y="2749216"/>
            <a:chExt cx="1349944" cy="1217028"/>
          </a:xfrm>
        </p:grpSpPr>
        <p:cxnSp>
          <p:nvCxnSpPr>
            <p:cNvPr id="16" name="Straight Connector 15"/>
            <p:cNvCxnSpPr/>
            <p:nvPr/>
          </p:nvCxnSpPr>
          <p:spPr>
            <a:xfrm>
              <a:off x="7605427" y="2749216"/>
              <a:ext cx="119518" cy="627911"/>
            </a:xfrm>
            <a:prstGeom prst="line">
              <a:avLst/>
            </a:prstGeom>
            <a:noFill/>
            <a:ln w="25400" cap="flat">
              <a:solidFill>
                <a:schemeClr val="accent1">
                  <a:lumMod val="7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26" name="TextBox 25"/>
            <p:cNvSpPr txBox="1"/>
            <p:nvPr/>
          </p:nvSpPr>
          <p:spPr>
            <a:xfrm>
              <a:off x="7569894" y="3366083"/>
              <a:ext cx="1349944" cy="600161"/>
            </a:xfrm>
            <a:prstGeom prst="rect">
              <a:avLst/>
            </a:prstGeom>
            <a:noFill/>
            <a:ln w="28575" cap="flat">
              <a:solidFill>
                <a:schemeClr val="accent1">
                  <a:lumMod val="75000"/>
                </a:schemeClr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862" tIns="54862" rIns="54862" bIns="54862" numCol="1" spcCol="38100" rtlCol="0" anchor="t">
              <a:spAutoFit/>
            </a:bodyPr>
            <a:lstStyle/>
            <a:p>
              <a:pPr algn="ctr"/>
              <a:r>
                <a:rPr lang="en-IN" sz="1320" dirty="0">
                  <a:latin typeface="Century Gothic" panose="020B0502020202020204" pitchFamily="34" charset="0"/>
                </a:rPr>
                <a:t>Plan to expand overseas- Fujairah (UAE)</a:t>
              </a:r>
            </a:p>
          </p:txBody>
        </p:sp>
      </p:grpSp>
      <p:grpSp>
        <p:nvGrpSpPr>
          <p:cNvPr id="60" name="Group 59"/>
          <p:cNvGrpSpPr/>
          <p:nvPr/>
        </p:nvGrpSpPr>
        <p:grpSpPr>
          <a:xfrm>
            <a:off x="9689481" y="3125624"/>
            <a:ext cx="2530600" cy="760257"/>
            <a:chOff x="7749067" y="2707860"/>
            <a:chExt cx="2108833" cy="633548"/>
          </a:xfrm>
        </p:grpSpPr>
        <p:cxnSp>
          <p:nvCxnSpPr>
            <p:cNvPr id="49" name="Straight Connector 48"/>
            <p:cNvCxnSpPr/>
            <p:nvPr/>
          </p:nvCxnSpPr>
          <p:spPr>
            <a:xfrm>
              <a:off x="7749067" y="2707860"/>
              <a:ext cx="119518" cy="627911"/>
            </a:xfrm>
            <a:prstGeom prst="line">
              <a:avLst/>
            </a:prstGeom>
            <a:noFill/>
            <a:ln w="25400" cap="flat">
              <a:solidFill>
                <a:schemeClr val="accent1">
                  <a:lumMod val="7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52" name="Straight Connector 51"/>
            <p:cNvCxnSpPr/>
            <p:nvPr/>
          </p:nvCxnSpPr>
          <p:spPr>
            <a:xfrm flipV="1">
              <a:off x="7868585" y="2999153"/>
              <a:ext cx="133147" cy="334383"/>
            </a:xfrm>
            <a:prstGeom prst="line">
              <a:avLst/>
            </a:prstGeom>
            <a:noFill/>
            <a:ln w="25400" cap="flat">
              <a:solidFill>
                <a:schemeClr val="accent1">
                  <a:lumMod val="7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57" name="Straight Connector 56"/>
            <p:cNvCxnSpPr/>
            <p:nvPr/>
          </p:nvCxnSpPr>
          <p:spPr>
            <a:xfrm flipV="1">
              <a:off x="7990663" y="2982874"/>
              <a:ext cx="181269" cy="18068"/>
            </a:xfrm>
            <a:prstGeom prst="line">
              <a:avLst/>
            </a:prstGeom>
            <a:noFill/>
            <a:ln w="25400" cap="flat">
              <a:solidFill>
                <a:schemeClr val="accent1">
                  <a:lumMod val="75000"/>
                </a:schemeClr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59" name="TextBox 58"/>
            <p:cNvSpPr txBox="1"/>
            <p:nvPr/>
          </p:nvSpPr>
          <p:spPr>
            <a:xfrm>
              <a:off x="8196832" y="2741247"/>
              <a:ext cx="1661068" cy="600161"/>
            </a:xfrm>
            <a:prstGeom prst="rect">
              <a:avLst/>
            </a:prstGeom>
            <a:noFill/>
            <a:ln w="28575" cap="flat">
              <a:solidFill>
                <a:schemeClr val="accent1">
                  <a:lumMod val="75000"/>
                </a:schemeClr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4862" tIns="54862" rIns="54862" bIns="54862" numCol="1" spcCol="38100" rtlCol="0" anchor="t">
              <a:spAutoFit/>
            </a:bodyPr>
            <a:lstStyle/>
            <a:p>
              <a:pPr algn="ctr"/>
              <a:r>
                <a:rPr lang="en-IN" sz="1320" dirty="0">
                  <a:latin typeface="Century Gothic" panose="020B0502020202020204" pitchFamily="34" charset="0"/>
                </a:rPr>
                <a:t>Launch of new brand campaign:</a:t>
              </a:r>
              <a:r>
                <a:rPr lang="en-IN" sz="1320" i="1" dirty="0">
                  <a:latin typeface="Century Gothic" panose="020B0502020202020204" pitchFamily="34" charset="0"/>
                </a:rPr>
                <a:t> Start Strong. Grow Stronger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95327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TextBox 74"/>
          <p:cNvSpPr txBox="1"/>
          <p:nvPr/>
        </p:nvSpPr>
        <p:spPr>
          <a:xfrm>
            <a:off x="-1" y="306859"/>
            <a:ext cx="14630401" cy="4801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4862" tIns="54862" rIns="54862" bIns="54862" numCol="1" spcCol="38100" rtlCol="0" anchor="t">
            <a:spAutoFit/>
          </a:bodyPr>
          <a:lstStyle/>
          <a:p>
            <a:pPr algn="ctr"/>
            <a:r>
              <a:rPr lang="en-US" sz="2400" b="1" dirty="0">
                <a:latin typeface="Century Gothic" panose="020B0502020202020204" pitchFamily="34" charset="0"/>
              </a:rPr>
              <a:t>KEY MARKETS FOR JSW CEMENT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1468418" y="1349694"/>
            <a:ext cx="12267545" cy="6697036"/>
            <a:chOff x="1223682" y="1124745"/>
            <a:chExt cx="10222954" cy="5580863"/>
          </a:xfrm>
        </p:grpSpPr>
        <p:grpSp>
          <p:nvGrpSpPr>
            <p:cNvPr id="73" name="Group 72"/>
            <p:cNvGrpSpPr/>
            <p:nvPr/>
          </p:nvGrpSpPr>
          <p:grpSpPr>
            <a:xfrm>
              <a:off x="1223682" y="1124745"/>
              <a:ext cx="10222954" cy="5580863"/>
              <a:chOff x="1223682" y="1124745"/>
              <a:chExt cx="10222954" cy="5580863"/>
            </a:xfrm>
          </p:grpSpPr>
          <p:grpSp>
            <p:nvGrpSpPr>
              <p:cNvPr id="4" name="Group 3"/>
              <p:cNvGrpSpPr/>
              <p:nvPr/>
            </p:nvGrpSpPr>
            <p:grpSpPr>
              <a:xfrm>
                <a:off x="1223682" y="1124745"/>
                <a:ext cx="10222954" cy="5580863"/>
                <a:chOff x="1223682" y="1124745"/>
                <a:chExt cx="10222954" cy="5580863"/>
              </a:xfrm>
            </p:grpSpPr>
            <p:grpSp>
              <p:nvGrpSpPr>
                <p:cNvPr id="5" name="Group 9"/>
                <p:cNvGrpSpPr/>
                <p:nvPr/>
              </p:nvGrpSpPr>
              <p:grpSpPr>
                <a:xfrm>
                  <a:off x="4384503" y="1124745"/>
                  <a:ext cx="5217427" cy="5580863"/>
                  <a:chOff x="2974356" y="1625609"/>
                  <a:chExt cx="3944400" cy="4521167"/>
                </a:xfrm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grpSpPr>
              <p:grpSp>
                <p:nvGrpSpPr>
                  <p:cNvPr id="11" name="Group 10"/>
                  <p:cNvGrpSpPr>
                    <a:grpSpLocks/>
                  </p:cNvGrpSpPr>
                  <p:nvPr/>
                </p:nvGrpSpPr>
                <p:grpSpPr bwMode="auto">
                  <a:xfrm>
                    <a:off x="2974356" y="1625609"/>
                    <a:ext cx="3944400" cy="4521167"/>
                    <a:chOff x="1666" y="498"/>
                    <a:chExt cx="2900" cy="3324"/>
                  </a:xfrm>
                  <a:solidFill>
                    <a:srgbClr val="D5D1C5"/>
                  </a:solidFill>
                </p:grpSpPr>
                <p:sp>
                  <p:nvSpPr>
                    <p:cNvPr id="19" name="Freeform 18"/>
                    <p:cNvSpPr>
                      <a:spLocks/>
                    </p:cNvSpPr>
                    <p:nvPr/>
                  </p:nvSpPr>
                  <p:spPr bwMode="auto">
                    <a:xfrm>
                      <a:off x="4244" y="3369"/>
                      <a:ext cx="26" cy="43"/>
                    </a:xfrm>
                    <a:custGeom>
                      <a:avLst/>
                      <a:gdLst>
                        <a:gd name="T0" fmla="*/ 0 w 78"/>
                        <a:gd name="T1" fmla="*/ 45 h 126"/>
                        <a:gd name="T2" fmla="*/ 36 w 78"/>
                        <a:gd name="T3" fmla="*/ 0 h 126"/>
                        <a:gd name="T4" fmla="*/ 78 w 78"/>
                        <a:gd name="T5" fmla="*/ 69 h 126"/>
                        <a:gd name="T6" fmla="*/ 63 w 78"/>
                        <a:gd name="T7" fmla="*/ 123 h 126"/>
                        <a:gd name="T8" fmla="*/ 15 w 78"/>
                        <a:gd name="T9" fmla="*/ 126 h 126"/>
                        <a:gd name="T10" fmla="*/ 15 w 78"/>
                        <a:gd name="T11" fmla="*/ 84 h 126"/>
                        <a:gd name="T12" fmla="*/ 0 w 78"/>
                        <a:gd name="T13" fmla="*/ 45 h 12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78" h="126">
                          <a:moveTo>
                            <a:pt x="0" y="45"/>
                          </a:moveTo>
                          <a:lnTo>
                            <a:pt x="36" y="0"/>
                          </a:lnTo>
                          <a:lnTo>
                            <a:pt x="78" y="69"/>
                          </a:lnTo>
                          <a:lnTo>
                            <a:pt x="63" y="123"/>
                          </a:lnTo>
                          <a:lnTo>
                            <a:pt x="15" y="126"/>
                          </a:lnTo>
                          <a:lnTo>
                            <a:pt x="15" y="84"/>
                          </a:lnTo>
                          <a:lnTo>
                            <a:pt x="0" y="45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20" name="Freeform 19"/>
                    <p:cNvSpPr>
                      <a:spLocks/>
                    </p:cNvSpPr>
                    <p:nvPr/>
                  </p:nvSpPr>
                  <p:spPr bwMode="auto">
                    <a:xfrm>
                      <a:off x="4255" y="3303"/>
                      <a:ext cx="21" cy="21"/>
                    </a:xfrm>
                    <a:custGeom>
                      <a:avLst/>
                      <a:gdLst>
                        <a:gd name="T0" fmla="*/ 45 w 63"/>
                        <a:gd name="T1" fmla="*/ 60 h 60"/>
                        <a:gd name="T2" fmla="*/ 0 w 63"/>
                        <a:gd name="T3" fmla="*/ 30 h 60"/>
                        <a:gd name="T4" fmla="*/ 24 w 63"/>
                        <a:gd name="T5" fmla="*/ 0 h 60"/>
                        <a:gd name="T6" fmla="*/ 63 w 63"/>
                        <a:gd name="T7" fmla="*/ 30 h 60"/>
                        <a:gd name="T8" fmla="*/ 45 w 63"/>
                        <a:gd name="T9" fmla="*/ 60 h 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3" h="60">
                          <a:moveTo>
                            <a:pt x="45" y="60"/>
                          </a:moveTo>
                          <a:lnTo>
                            <a:pt x="0" y="30"/>
                          </a:lnTo>
                          <a:lnTo>
                            <a:pt x="24" y="0"/>
                          </a:lnTo>
                          <a:lnTo>
                            <a:pt x="63" y="30"/>
                          </a:lnTo>
                          <a:lnTo>
                            <a:pt x="45" y="60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21" name="Freeform 20"/>
                    <p:cNvSpPr>
                      <a:spLocks/>
                    </p:cNvSpPr>
                    <p:nvPr/>
                  </p:nvSpPr>
                  <p:spPr bwMode="auto">
                    <a:xfrm>
                      <a:off x="4257" y="3283"/>
                      <a:ext cx="18" cy="18"/>
                    </a:xfrm>
                    <a:custGeom>
                      <a:avLst/>
                      <a:gdLst>
                        <a:gd name="T0" fmla="*/ 30 w 54"/>
                        <a:gd name="T1" fmla="*/ 51 h 54"/>
                        <a:gd name="T2" fmla="*/ 0 w 54"/>
                        <a:gd name="T3" fmla="*/ 27 h 54"/>
                        <a:gd name="T4" fmla="*/ 45 w 54"/>
                        <a:gd name="T5" fmla="*/ 0 h 54"/>
                        <a:gd name="T6" fmla="*/ 54 w 54"/>
                        <a:gd name="T7" fmla="*/ 24 h 54"/>
                        <a:gd name="T8" fmla="*/ 51 w 54"/>
                        <a:gd name="T9" fmla="*/ 54 h 54"/>
                        <a:gd name="T10" fmla="*/ 30 w 54"/>
                        <a:gd name="T11" fmla="*/ 51 h 5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54" h="54">
                          <a:moveTo>
                            <a:pt x="30" y="51"/>
                          </a:moveTo>
                          <a:lnTo>
                            <a:pt x="0" y="27"/>
                          </a:lnTo>
                          <a:lnTo>
                            <a:pt x="45" y="0"/>
                          </a:lnTo>
                          <a:lnTo>
                            <a:pt x="54" y="24"/>
                          </a:lnTo>
                          <a:lnTo>
                            <a:pt x="51" y="54"/>
                          </a:lnTo>
                          <a:lnTo>
                            <a:pt x="30" y="51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22" name="Freeform 21"/>
                    <p:cNvSpPr>
                      <a:spLocks/>
                    </p:cNvSpPr>
                    <p:nvPr/>
                  </p:nvSpPr>
                  <p:spPr bwMode="auto">
                    <a:xfrm>
                      <a:off x="4247" y="3231"/>
                      <a:ext cx="34" cy="51"/>
                    </a:xfrm>
                    <a:custGeom>
                      <a:avLst/>
                      <a:gdLst>
                        <a:gd name="T0" fmla="*/ 54 w 99"/>
                        <a:gd name="T1" fmla="*/ 147 h 147"/>
                        <a:gd name="T2" fmla="*/ 99 w 99"/>
                        <a:gd name="T3" fmla="*/ 105 h 147"/>
                        <a:gd name="T4" fmla="*/ 72 w 99"/>
                        <a:gd name="T5" fmla="*/ 66 h 147"/>
                        <a:gd name="T6" fmla="*/ 69 w 99"/>
                        <a:gd name="T7" fmla="*/ 0 h 147"/>
                        <a:gd name="T8" fmla="*/ 36 w 99"/>
                        <a:gd name="T9" fmla="*/ 0 h 147"/>
                        <a:gd name="T10" fmla="*/ 36 w 99"/>
                        <a:gd name="T11" fmla="*/ 72 h 147"/>
                        <a:gd name="T12" fmla="*/ 0 w 99"/>
                        <a:gd name="T13" fmla="*/ 75 h 147"/>
                        <a:gd name="T14" fmla="*/ 18 w 99"/>
                        <a:gd name="T15" fmla="*/ 114 h 147"/>
                        <a:gd name="T16" fmla="*/ 54 w 99"/>
                        <a:gd name="T17" fmla="*/ 147 h 14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9" h="147">
                          <a:moveTo>
                            <a:pt x="54" y="147"/>
                          </a:moveTo>
                          <a:lnTo>
                            <a:pt x="99" y="105"/>
                          </a:lnTo>
                          <a:lnTo>
                            <a:pt x="72" y="66"/>
                          </a:lnTo>
                          <a:lnTo>
                            <a:pt x="69" y="0"/>
                          </a:lnTo>
                          <a:lnTo>
                            <a:pt x="36" y="0"/>
                          </a:lnTo>
                          <a:lnTo>
                            <a:pt x="36" y="72"/>
                          </a:lnTo>
                          <a:lnTo>
                            <a:pt x="0" y="75"/>
                          </a:lnTo>
                          <a:lnTo>
                            <a:pt x="18" y="114"/>
                          </a:lnTo>
                          <a:lnTo>
                            <a:pt x="54" y="147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23" name="Freeform 22"/>
                    <p:cNvSpPr>
                      <a:spLocks/>
                    </p:cNvSpPr>
                    <p:nvPr/>
                  </p:nvSpPr>
                  <p:spPr bwMode="auto">
                    <a:xfrm>
                      <a:off x="4263" y="3144"/>
                      <a:ext cx="27" cy="63"/>
                    </a:xfrm>
                    <a:custGeom>
                      <a:avLst/>
                      <a:gdLst>
                        <a:gd name="T0" fmla="*/ 16 w 78"/>
                        <a:gd name="T1" fmla="*/ 183 h 183"/>
                        <a:gd name="T2" fmla="*/ 78 w 78"/>
                        <a:gd name="T3" fmla="*/ 114 h 183"/>
                        <a:gd name="T4" fmla="*/ 57 w 78"/>
                        <a:gd name="T5" fmla="*/ 77 h 183"/>
                        <a:gd name="T6" fmla="*/ 72 w 78"/>
                        <a:gd name="T7" fmla="*/ 48 h 183"/>
                        <a:gd name="T8" fmla="*/ 49 w 78"/>
                        <a:gd name="T9" fmla="*/ 0 h 183"/>
                        <a:gd name="T10" fmla="*/ 7 w 78"/>
                        <a:gd name="T11" fmla="*/ 12 h 183"/>
                        <a:gd name="T12" fmla="*/ 12 w 78"/>
                        <a:gd name="T13" fmla="*/ 63 h 183"/>
                        <a:gd name="T14" fmla="*/ 1 w 78"/>
                        <a:gd name="T15" fmla="*/ 86 h 183"/>
                        <a:gd name="T16" fmla="*/ 12 w 78"/>
                        <a:gd name="T17" fmla="*/ 108 h 183"/>
                        <a:gd name="T18" fmla="*/ 0 w 78"/>
                        <a:gd name="T19" fmla="*/ 149 h 183"/>
                        <a:gd name="T20" fmla="*/ 16 w 78"/>
                        <a:gd name="T21" fmla="*/ 183 h 1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</a:cxnLst>
                      <a:rect l="0" t="0" r="r" b="b"/>
                      <a:pathLst>
                        <a:path w="78" h="183">
                          <a:moveTo>
                            <a:pt x="16" y="183"/>
                          </a:moveTo>
                          <a:lnTo>
                            <a:pt x="78" y="114"/>
                          </a:lnTo>
                          <a:lnTo>
                            <a:pt x="57" y="77"/>
                          </a:lnTo>
                          <a:lnTo>
                            <a:pt x="72" y="48"/>
                          </a:lnTo>
                          <a:lnTo>
                            <a:pt x="49" y="0"/>
                          </a:lnTo>
                          <a:lnTo>
                            <a:pt x="7" y="12"/>
                          </a:lnTo>
                          <a:lnTo>
                            <a:pt x="12" y="63"/>
                          </a:lnTo>
                          <a:lnTo>
                            <a:pt x="1" y="86"/>
                          </a:lnTo>
                          <a:lnTo>
                            <a:pt x="12" y="108"/>
                          </a:lnTo>
                          <a:lnTo>
                            <a:pt x="0" y="149"/>
                          </a:lnTo>
                          <a:lnTo>
                            <a:pt x="16" y="183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24" name="Freeform 23"/>
                    <p:cNvSpPr>
                      <a:spLocks/>
                    </p:cNvSpPr>
                    <p:nvPr/>
                  </p:nvSpPr>
                  <p:spPr bwMode="auto">
                    <a:xfrm>
                      <a:off x="4271" y="3207"/>
                      <a:ext cx="21" cy="15"/>
                    </a:xfrm>
                    <a:custGeom>
                      <a:avLst/>
                      <a:gdLst>
                        <a:gd name="T0" fmla="*/ 0 w 61"/>
                        <a:gd name="T1" fmla="*/ 20 h 44"/>
                        <a:gd name="T2" fmla="*/ 15 w 61"/>
                        <a:gd name="T3" fmla="*/ 44 h 44"/>
                        <a:gd name="T4" fmla="*/ 61 w 61"/>
                        <a:gd name="T5" fmla="*/ 26 h 44"/>
                        <a:gd name="T6" fmla="*/ 33 w 61"/>
                        <a:gd name="T7" fmla="*/ 0 h 44"/>
                        <a:gd name="T8" fmla="*/ 0 w 61"/>
                        <a:gd name="T9" fmla="*/ 20 h 4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61" h="44">
                          <a:moveTo>
                            <a:pt x="0" y="20"/>
                          </a:moveTo>
                          <a:lnTo>
                            <a:pt x="15" y="44"/>
                          </a:lnTo>
                          <a:lnTo>
                            <a:pt x="61" y="26"/>
                          </a:lnTo>
                          <a:lnTo>
                            <a:pt x="33" y="0"/>
                          </a:lnTo>
                          <a:lnTo>
                            <a:pt x="0" y="20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25" name="Freeform 24"/>
                    <p:cNvSpPr>
                      <a:spLocks/>
                    </p:cNvSpPr>
                    <p:nvPr/>
                  </p:nvSpPr>
                  <p:spPr bwMode="auto">
                    <a:xfrm>
                      <a:off x="4264" y="3130"/>
                      <a:ext cx="8" cy="10"/>
                    </a:xfrm>
                    <a:custGeom>
                      <a:avLst/>
                      <a:gdLst>
                        <a:gd name="T0" fmla="*/ 23 w 23"/>
                        <a:gd name="T1" fmla="*/ 28 h 28"/>
                        <a:gd name="T2" fmla="*/ 11 w 23"/>
                        <a:gd name="T3" fmla="*/ 0 h 28"/>
                        <a:gd name="T4" fmla="*/ 0 w 23"/>
                        <a:gd name="T5" fmla="*/ 7 h 28"/>
                        <a:gd name="T6" fmla="*/ 5 w 23"/>
                        <a:gd name="T7" fmla="*/ 25 h 28"/>
                        <a:gd name="T8" fmla="*/ 23 w 23"/>
                        <a:gd name="T9" fmla="*/ 28 h 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3" h="28">
                          <a:moveTo>
                            <a:pt x="23" y="28"/>
                          </a:moveTo>
                          <a:lnTo>
                            <a:pt x="11" y="0"/>
                          </a:lnTo>
                          <a:lnTo>
                            <a:pt x="0" y="7"/>
                          </a:lnTo>
                          <a:lnTo>
                            <a:pt x="5" y="25"/>
                          </a:lnTo>
                          <a:lnTo>
                            <a:pt x="23" y="28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26" name="Freeform 25"/>
                    <p:cNvSpPr>
                      <a:spLocks/>
                    </p:cNvSpPr>
                    <p:nvPr/>
                  </p:nvSpPr>
                  <p:spPr bwMode="auto">
                    <a:xfrm>
                      <a:off x="4268" y="3067"/>
                      <a:ext cx="22" cy="54"/>
                    </a:xfrm>
                    <a:custGeom>
                      <a:avLst/>
                      <a:gdLst>
                        <a:gd name="T0" fmla="*/ 54 w 66"/>
                        <a:gd name="T1" fmla="*/ 0 h 160"/>
                        <a:gd name="T2" fmla="*/ 12 w 66"/>
                        <a:gd name="T3" fmla="*/ 31 h 160"/>
                        <a:gd name="T4" fmla="*/ 12 w 66"/>
                        <a:gd name="T5" fmla="*/ 73 h 160"/>
                        <a:gd name="T6" fmla="*/ 0 w 66"/>
                        <a:gd name="T7" fmla="*/ 78 h 160"/>
                        <a:gd name="T8" fmla="*/ 18 w 66"/>
                        <a:gd name="T9" fmla="*/ 106 h 160"/>
                        <a:gd name="T10" fmla="*/ 3 w 66"/>
                        <a:gd name="T11" fmla="*/ 136 h 160"/>
                        <a:gd name="T12" fmla="*/ 62 w 66"/>
                        <a:gd name="T13" fmla="*/ 160 h 160"/>
                        <a:gd name="T14" fmla="*/ 60 w 66"/>
                        <a:gd name="T15" fmla="*/ 94 h 160"/>
                        <a:gd name="T16" fmla="*/ 27 w 66"/>
                        <a:gd name="T17" fmla="*/ 73 h 160"/>
                        <a:gd name="T18" fmla="*/ 35 w 66"/>
                        <a:gd name="T19" fmla="*/ 60 h 160"/>
                        <a:gd name="T20" fmla="*/ 66 w 66"/>
                        <a:gd name="T21" fmla="*/ 57 h 160"/>
                        <a:gd name="T22" fmla="*/ 65 w 66"/>
                        <a:gd name="T23" fmla="*/ 45 h 160"/>
                        <a:gd name="T24" fmla="*/ 42 w 66"/>
                        <a:gd name="T25" fmla="*/ 42 h 160"/>
                        <a:gd name="T26" fmla="*/ 42 w 66"/>
                        <a:gd name="T27" fmla="*/ 25 h 160"/>
                        <a:gd name="T28" fmla="*/ 54 w 66"/>
                        <a:gd name="T29" fmla="*/ 0 h 16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</a:cxnLst>
                      <a:rect l="0" t="0" r="r" b="b"/>
                      <a:pathLst>
                        <a:path w="66" h="160">
                          <a:moveTo>
                            <a:pt x="54" y="0"/>
                          </a:moveTo>
                          <a:lnTo>
                            <a:pt x="12" y="31"/>
                          </a:lnTo>
                          <a:lnTo>
                            <a:pt x="12" y="73"/>
                          </a:lnTo>
                          <a:lnTo>
                            <a:pt x="0" y="78"/>
                          </a:lnTo>
                          <a:lnTo>
                            <a:pt x="18" y="106"/>
                          </a:lnTo>
                          <a:lnTo>
                            <a:pt x="3" y="136"/>
                          </a:lnTo>
                          <a:lnTo>
                            <a:pt x="62" y="160"/>
                          </a:lnTo>
                          <a:lnTo>
                            <a:pt x="60" y="94"/>
                          </a:lnTo>
                          <a:lnTo>
                            <a:pt x="27" y="73"/>
                          </a:lnTo>
                          <a:lnTo>
                            <a:pt x="35" y="60"/>
                          </a:lnTo>
                          <a:lnTo>
                            <a:pt x="66" y="57"/>
                          </a:lnTo>
                          <a:lnTo>
                            <a:pt x="65" y="45"/>
                          </a:lnTo>
                          <a:lnTo>
                            <a:pt x="42" y="42"/>
                          </a:lnTo>
                          <a:lnTo>
                            <a:pt x="42" y="25"/>
                          </a:lnTo>
                          <a:lnTo>
                            <a:pt x="54" y="0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27" name="Freeform 26"/>
                    <p:cNvSpPr>
                      <a:spLocks/>
                    </p:cNvSpPr>
                    <p:nvPr/>
                  </p:nvSpPr>
                  <p:spPr bwMode="auto">
                    <a:xfrm>
                      <a:off x="4266" y="3119"/>
                      <a:ext cx="15" cy="10"/>
                    </a:xfrm>
                    <a:custGeom>
                      <a:avLst/>
                      <a:gdLst>
                        <a:gd name="T0" fmla="*/ 0 w 42"/>
                        <a:gd name="T1" fmla="*/ 19 h 30"/>
                        <a:gd name="T2" fmla="*/ 12 w 42"/>
                        <a:gd name="T3" fmla="*/ 0 h 30"/>
                        <a:gd name="T4" fmla="*/ 42 w 42"/>
                        <a:gd name="T5" fmla="*/ 28 h 30"/>
                        <a:gd name="T6" fmla="*/ 25 w 42"/>
                        <a:gd name="T7" fmla="*/ 30 h 30"/>
                        <a:gd name="T8" fmla="*/ 0 w 42"/>
                        <a:gd name="T9" fmla="*/ 19 h 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2" h="30">
                          <a:moveTo>
                            <a:pt x="0" y="19"/>
                          </a:moveTo>
                          <a:lnTo>
                            <a:pt x="12" y="0"/>
                          </a:lnTo>
                          <a:lnTo>
                            <a:pt x="42" y="28"/>
                          </a:lnTo>
                          <a:lnTo>
                            <a:pt x="25" y="30"/>
                          </a:lnTo>
                          <a:lnTo>
                            <a:pt x="0" y="19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28" name="Freeform 27"/>
                    <p:cNvSpPr>
                      <a:spLocks/>
                    </p:cNvSpPr>
                    <p:nvPr/>
                  </p:nvSpPr>
                  <p:spPr bwMode="auto">
                    <a:xfrm>
                      <a:off x="4298" y="3204"/>
                      <a:ext cx="11" cy="8"/>
                    </a:xfrm>
                    <a:custGeom>
                      <a:avLst/>
                      <a:gdLst>
                        <a:gd name="T0" fmla="*/ 14 w 32"/>
                        <a:gd name="T1" fmla="*/ 0 h 21"/>
                        <a:gd name="T2" fmla="*/ 32 w 32"/>
                        <a:gd name="T3" fmla="*/ 18 h 21"/>
                        <a:gd name="T4" fmla="*/ 8 w 32"/>
                        <a:gd name="T5" fmla="*/ 21 h 21"/>
                        <a:gd name="T6" fmla="*/ 0 w 32"/>
                        <a:gd name="T7" fmla="*/ 9 h 21"/>
                        <a:gd name="T8" fmla="*/ 14 w 32"/>
                        <a:gd name="T9" fmla="*/ 0 h 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2" h="21">
                          <a:moveTo>
                            <a:pt x="14" y="0"/>
                          </a:moveTo>
                          <a:lnTo>
                            <a:pt x="32" y="18"/>
                          </a:lnTo>
                          <a:lnTo>
                            <a:pt x="8" y="21"/>
                          </a:lnTo>
                          <a:lnTo>
                            <a:pt x="0" y="9"/>
                          </a:lnTo>
                          <a:lnTo>
                            <a:pt x="14" y="0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29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4297" y="3222"/>
                      <a:ext cx="11" cy="13"/>
                    </a:xfrm>
                    <a:custGeom>
                      <a:avLst/>
                      <a:gdLst>
                        <a:gd name="T0" fmla="*/ 3 w 33"/>
                        <a:gd name="T1" fmla="*/ 39 h 39"/>
                        <a:gd name="T2" fmla="*/ 33 w 33"/>
                        <a:gd name="T3" fmla="*/ 27 h 39"/>
                        <a:gd name="T4" fmla="*/ 21 w 33"/>
                        <a:gd name="T5" fmla="*/ 0 h 39"/>
                        <a:gd name="T6" fmla="*/ 0 w 33"/>
                        <a:gd name="T7" fmla="*/ 16 h 39"/>
                        <a:gd name="T8" fmla="*/ 3 w 33"/>
                        <a:gd name="T9" fmla="*/ 39 h 3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3" h="39">
                          <a:moveTo>
                            <a:pt x="3" y="39"/>
                          </a:moveTo>
                          <a:lnTo>
                            <a:pt x="33" y="27"/>
                          </a:lnTo>
                          <a:lnTo>
                            <a:pt x="21" y="0"/>
                          </a:lnTo>
                          <a:lnTo>
                            <a:pt x="0" y="16"/>
                          </a:lnTo>
                          <a:lnTo>
                            <a:pt x="3" y="39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30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4296" y="3555"/>
                      <a:ext cx="13" cy="15"/>
                    </a:xfrm>
                    <a:custGeom>
                      <a:avLst/>
                      <a:gdLst>
                        <a:gd name="T0" fmla="*/ 33 w 39"/>
                        <a:gd name="T1" fmla="*/ 46 h 46"/>
                        <a:gd name="T2" fmla="*/ 39 w 39"/>
                        <a:gd name="T3" fmla="*/ 6 h 46"/>
                        <a:gd name="T4" fmla="*/ 30 w 39"/>
                        <a:gd name="T5" fmla="*/ 0 h 46"/>
                        <a:gd name="T6" fmla="*/ 0 w 39"/>
                        <a:gd name="T7" fmla="*/ 13 h 46"/>
                        <a:gd name="T8" fmla="*/ 33 w 39"/>
                        <a:gd name="T9" fmla="*/ 46 h 4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9" h="46">
                          <a:moveTo>
                            <a:pt x="33" y="46"/>
                          </a:moveTo>
                          <a:lnTo>
                            <a:pt x="39" y="6"/>
                          </a:lnTo>
                          <a:lnTo>
                            <a:pt x="30" y="0"/>
                          </a:lnTo>
                          <a:lnTo>
                            <a:pt x="0" y="13"/>
                          </a:lnTo>
                          <a:lnTo>
                            <a:pt x="33" y="46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31" name="Freeform 30"/>
                    <p:cNvSpPr>
                      <a:spLocks/>
                    </p:cNvSpPr>
                    <p:nvPr/>
                  </p:nvSpPr>
                  <p:spPr bwMode="auto">
                    <a:xfrm>
                      <a:off x="4428" y="3770"/>
                      <a:ext cx="31" cy="52"/>
                    </a:xfrm>
                    <a:custGeom>
                      <a:avLst/>
                      <a:gdLst>
                        <a:gd name="T0" fmla="*/ 69 w 89"/>
                        <a:gd name="T1" fmla="*/ 151 h 151"/>
                        <a:gd name="T2" fmla="*/ 83 w 89"/>
                        <a:gd name="T3" fmla="*/ 138 h 151"/>
                        <a:gd name="T4" fmla="*/ 89 w 89"/>
                        <a:gd name="T5" fmla="*/ 66 h 151"/>
                        <a:gd name="T6" fmla="*/ 60 w 89"/>
                        <a:gd name="T7" fmla="*/ 42 h 151"/>
                        <a:gd name="T8" fmla="*/ 60 w 89"/>
                        <a:gd name="T9" fmla="*/ 10 h 151"/>
                        <a:gd name="T10" fmla="*/ 44 w 89"/>
                        <a:gd name="T11" fmla="*/ 0 h 151"/>
                        <a:gd name="T12" fmla="*/ 0 w 89"/>
                        <a:gd name="T13" fmla="*/ 34 h 151"/>
                        <a:gd name="T14" fmla="*/ 9 w 89"/>
                        <a:gd name="T15" fmla="*/ 85 h 151"/>
                        <a:gd name="T16" fmla="*/ 35 w 89"/>
                        <a:gd name="T17" fmla="*/ 96 h 151"/>
                        <a:gd name="T18" fmla="*/ 69 w 89"/>
                        <a:gd name="T19" fmla="*/ 151 h 15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89" h="151">
                          <a:moveTo>
                            <a:pt x="69" y="151"/>
                          </a:moveTo>
                          <a:lnTo>
                            <a:pt x="83" y="138"/>
                          </a:lnTo>
                          <a:lnTo>
                            <a:pt x="89" y="66"/>
                          </a:lnTo>
                          <a:lnTo>
                            <a:pt x="60" y="42"/>
                          </a:lnTo>
                          <a:lnTo>
                            <a:pt x="60" y="10"/>
                          </a:lnTo>
                          <a:lnTo>
                            <a:pt x="44" y="0"/>
                          </a:lnTo>
                          <a:lnTo>
                            <a:pt x="0" y="34"/>
                          </a:lnTo>
                          <a:lnTo>
                            <a:pt x="9" y="85"/>
                          </a:lnTo>
                          <a:lnTo>
                            <a:pt x="35" y="96"/>
                          </a:lnTo>
                          <a:lnTo>
                            <a:pt x="69" y="151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32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4417" y="3750"/>
                      <a:ext cx="15" cy="18"/>
                    </a:xfrm>
                    <a:custGeom>
                      <a:avLst/>
                      <a:gdLst>
                        <a:gd name="T0" fmla="*/ 21 w 45"/>
                        <a:gd name="T1" fmla="*/ 53 h 53"/>
                        <a:gd name="T2" fmla="*/ 45 w 45"/>
                        <a:gd name="T3" fmla="*/ 6 h 53"/>
                        <a:gd name="T4" fmla="*/ 31 w 45"/>
                        <a:gd name="T5" fmla="*/ 0 h 53"/>
                        <a:gd name="T6" fmla="*/ 0 w 45"/>
                        <a:gd name="T7" fmla="*/ 27 h 53"/>
                        <a:gd name="T8" fmla="*/ 21 w 45"/>
                        <a:gd name="T9" fmla="*/ 53 h 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5" h="53">
                          <a:moveTo>
                            <a:pt x="21" y="53"/>
                          </a:moveTo>
                          <a:lnTo>
                            <a:pt x="45" y="6"/>
                          </a:lnTo>
                          <a:lnTo>
                            <a:pt x="31" y="0"/>
                          </a:lnTo>
                          <a:lnTo>
                            <a:pt x="0" y="27"/>
                          </a:lnTo>
                          <a:lnTo>
                            <a:pt x="21" y="53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33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4377" y="3684"/>
                      <a:ext cx="15" cy="19"/>
                    </a:xfrm>
                    <a:custGeom>
                      <a:avLst/>
                      <a:gdLst>
                        <a:gd name="T0" fmla="*/ 7 w 43"/>
                        <a:gd name="T1" fmla="*/ 53 h 53"/>
                        <a:gd name="T2" fmla="*/ 43 w 43"/>
                        <a:gd name="T3" fmla="*/ 53 h 53"/>
                        <a:gd name="T4" fmla="*/ 33 w 43"/>
                        <a:gd name="T5" fmla="*/ 18 h 53"/>
                        <a:gd name="T6" fmla="*/ 12 w 43"/>
                        <a:gd name="T7" fmla="*/ 0 h 53"/>
                        <a:gd name="T8" fmla="*/ 0 w 43"/>
                        <a:gd name="T9" fmla="*/ 26 h 53"/>
                        <a:gd name="T10" fmla="*/ 7 w 43"/>
                        <a:gd name="T11" fmla="*/ 53 h 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43" h="53">
                          <a:moveTo>
                            <a:pt x="7" y="53"/>
                          </a:moveTo>
                          <a:lnTo>
                            <a:pt x="43" y="53"/>
                          </a:lnTo>
                          <a:lnTo>
                            <a:pt x="33" y="18"/>
                          </a:lnTo>
                          <a:lnTo>
                            <a:pt x="12" y="0"/>
                          </a:lnTo>
                          <a:lnTo>
                            <a:pt x="0" y="26"/>
                          </a:lnTo>
                          <a:lnTo>
                            <a:pt x="7" y="53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34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4344" y="3653"/>
                      <a:ext cx="21" cy="16"/>
                    </a:xfrm>
                    <a:custGeom>
                      <a:avLst/>
                      <a:gdLst>
                        <a:gd name="T0" fmla="*/ 10 w 60"/>
                        <a:gd name="T1" fmla="*/ 0 h 48"/>
                        <a:gd name="T2" fmla="*/ 25 w 60"/>
                        <a:gd name="T3" fmla="*/ 11 h 48"/>
                        <a:gd name="T4" fmla="*/ 6 w 60"/>
                        <a:gd name="T5" fmla="*/ 26 h 48"/>
                        <a:gd name="T6" fmla="*/ 30 w 60"/>
                        <a:gd name="T7" fmla="*/ 38 h 48"/>
                        <a:gd name="T8" fmla="*/ 51 w 60"/>
                        <a:gd name="T9" fmla="*/ 24 h 48"/>
                        <a:gd name="T10" fmla="*/ 60 w 60"/>
                        <a:gd name="T11" fmla="*/ 42 h 48"/>
                        <a:gd name="T12" fmla="*/ 27 w 60"/>
                        <a:gd name="T13" fmla="*/ 48 h 48"/>
                        <a:gd name="T14" fmla="*/ 0 w 60"/>
                        <a:gd name="T15" fmla="*/ 32 h 48"/>
                        <a:gd name="T16" fmla="*/ 0 w 60"/>
                        <a:gd name="T17" fmla="*/ 12 h 48"/>
                        <a:gd name="T18" fmla="*/ 10 w 60"/>
                        <a:gd name="T19" fmla="*/ 0 h 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60" h="48">
                          <a:moveTo>
                            <a:pt x="10" y="0"/>
                          </a:moveTo>
                          <a:lnTo>
                            <a:pt x="25" y="11"/>
                          </a:lnTo>
                          <a:lnTo>
                            <a:pt x="6" y="26"/>
                          </a:lnTo>
                          <a:lnTo>
                            <a:pt x="30" y="38"/>
                          </a:lnTo>
                          <a:lnTo>
                            <a:pt x="51" y="24"/>
                          </a:lnTo>
                          <a:lnTo>
                            <a:pt x="60" y="42"/>
                          </a:lnTo>
                          <a:lnTo>
                            <a:pt x="27" y="48"/>
                          </a:lnTo>
                          <a:lnTo>
                            <a:pt x="0" y="32"/>
                          </a:lnTo>
                          <a:lnTo>
                            <a:pt x="0" y="12"/>
                          </a:lnTo>
                          <a:lnTo>
                            <a:pt x="10" y="0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35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4399" y="3677"/>
                      <a:ext cx="9" cy="12"/>
                    </a:xfrm>
                    <a:custGeom>
                      <a:avLst/>
                      <a:gdLst>
                        <a:gd name="T0" fmla="*/ 3 w 27"/>
                        <a:gd name="T1" fmla="*/ 37 h 37"/>
                        <a:gd name="T2" fmla="*/ 27 w 27"/>
                        <a:gd name="T3" fmla="*/ 18 h 37"/>
                        <a:gd name="T4" fmla="*/ 19 w 27"/>
                        <a:gd name="T5" fmla="*/ 0 h 37"/>
                        <a:gd name="T6" fmla="*/ 0 w 27"/>
                        <a:gd name="T7" fmla="*/ 16 h 37"/>
                        <a:gd name="T8" fmla="*/ 3 w 27"/>
                        <a:gd name="T9" fmla="*/ 37 h 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7" h="37">
                          <a:moveTo>
                            <a:pt x="3" y="37"/>
                          </a:moveTo>
                          <a:lnTo>
                            <a:pt x="27" y="18"/>
                          </a:lnTo>
                          <a:lnTo>
                            <a:pt x="19" y="0"/>
                          </a:lnTo>
                          <a:lnTo>
                            <a:pt x="0" y="16"/>
                          </a:lnTo>
                          <a:lnTo>
                            <a:pt x="3" y="37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36" name="Freeform 35"/>
                    <p:cNvSpPr>
                      <a:spLocks/>
                    </p:cNvSpPr>
                    <p:nvPr/>
                  </p:nvSpPr>
                  <p:spPr bwMode="auto">
                    <a:xfrm>
                      <a:off x="4105" y="1856"/>
                      <a:ext cx="119" cy="297"/>
                    </a:xfrm>
                    <a:custGeom>
                      <a:avLst/>
                      <a:gdLst>
                        <a:gd name="T0" fmla="*/ 12 w 348"/>
                        <a:gd name="T1" fmla="*/ 144 h 869"/>
                        <a:gd name="T2" fmla="*/ 0 w 348"/>
                        <a:gd name="T3" fmla="*/ 249 h 869"/>
                        <a:gd name="T4" fmla="*/ 57 w 348"/>
                        <a:gd name="T5" fmla="*/ 378 h 869"/>
                        <a:gd name="T6" fmla="*/ 35 w 348"/>
                        <a:gd name="T7" fmla="*/ 422 h 869"/>
                        <a:gd name="T8" fmla="*/ 78 w 348"/>
                        <a:gd name="T9" fmla="*/ 557 h 869"/>
                        <a:gd name="T10" fmla="*/ 116 w 348"/>
                        <a:gd name="T11" fmla="*/ 623 h 869"/>
                        <a:gd name="T12" fmla="*/ 131 w 348"/>
                        <a:gd name="T13" fmla="*/ 723 h 869"/>
                        <a:gd name="T14" fmla="*/ 164 w 348"/>
                        <a:gd name="T15" fmla="*/ 869 h 869"/>
                        <a:gd name="T16" fmla="*/ 176 w 348"/>
                        <a:gd name="T17" fmla="*/ 800 h 869"/>
                        <a:gd name="T18" fmla="*/ 201 w 348"/>
                        <a:gd name="T19" fmla="*/ 758 h 869"/>
                        <a:gd name="T20" fmla="*/ 242 w 348"/>
                        <a:gd name="T21" fmla="*/ 813 h 869"/>
                        <a:gd name="T22" fmla="*/ 278 w 348"/>
                        <a:gd name="T23" fmla="*/ 789 h 869"/>
                        <a:gd name="T24" fmla="*/ 273 w 348"/>
                        <a:gd name="T25" fmla="*/ 741 h 869"/>
                        <a:gd name="T26" fmla="*/ 315 w 348"/>
                        <a:gd name="T27" fmla="*/ 722 h 869"/>
                        <a:gd name="T28" fmla="*/ 281 w 348"/>
                        <a:gd name="T29" fmla="*/ 590 h 869"/>
                        <a:gd name="T30" fmla="*/ 266 w 348"/>
                        <a:gd name="T31" fmla="*/ 537 h 869"/>
                        <a:gd name="T32" fmla="*/ 276 w 348"/>
                        <a:gd name="T33" fmla="*/ 456 h 869"/>
                        <a:gd name="T34" fmla="*/ 333 w 348"/>
                        <a:gd name="T35" fmla="*/ 417 h 869"/>
                        <a:gd name="T36" fmla="*/ 324 w 348"/>
                        <a:gd name="T37" fmla="*/ 326 h 869"/>
                        <a:gd name="T38" fmla="*/ 348 w 348"/>
                        <a:gd name="T39" fmla="*/ 311 h 869"/>
                        <a:gd name="T40" fmla="*/ 341 w 348"/>
                        <a:gd name="T41" fmla="*/ 191 h 869"/>
                        <a:gd name="T42" fmla="*/ 308 w 348"/>
                        <a:gd name="T43" fmla="*/ 162 h 869"/>
                        <a:gd name="T44" fmla="*/ 284 w 348"/>
                        <a:gd name="T45" fmla="*/ 125 h 869"/>
                        <a:gd name="T46" fmla="*/ 239 w 348"/>
                        <a:gd name="T47" fmla="*/ 126 h 869"/>
                        <a:gd name="T48" fmla="*/ 203 w 348"/>
                        <a:gd name="T49" fmla="*/ 99 h 869"/>
                        <a:gd name="T50" fmla="*/ 206 w 348"/>
                        <a:gd name="T51" fmla="*/ 38 h 869"/>
                        <a:gd name="T52" fmla="*/ 150 w 348"/>
                        <a:gd name="T53" fmla="*/ 32 h 869"/>
                        <a:gd name="T54" fmla="*/ 131 w 348"/>
                        <a:gd name="T55" fmla="*/ 0 h 869"/>
                        <a:gd name="T56" fmla="*/ 95 w 348"/>
                        <a:gd name="T57" fmla="*/ 81 h 869"/>
                        <a:gd name="T58" fmla="*/ 72 w 348"/>
                        <a:gd name="T59" fmla="*/ 122 h 869"/>
                        <a:gd name="T60" fmla="*/ 12 w 348"/>
                        <a:gd name="T61" fmla="*/ 144 h 86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</a:cxnLst>
                      <a:rect l="0" t="0" r="r" b="b"/>
                      <a:pathLst>
                        <a:path w="348" h="869">
                          <a:moveTo>
                            <a:pt x="12" y="144"/>
                          </a:moveTo>
                          <a:lnTo>
                            <a:pt x="0" y="249"/>
                          </a:lnTo>
                          <a:lnTo>
                            <a:pt x="57" y="378"/>
                          </a:lnTo>
                          <a:lnTo>
                            <a:pt x="35" y="422"/>
                          </a:lnTo>
                          <a:lnTo>
                            <a:pt x="78" y="557"/>
                          </a:lnTo>
                          <a:lnTo>
                            <a:pt x="116" y="623"/>
                          </a:lnTo>
                          <a:lnTo>
                            <a:pt x="131" y="723"/>
                          </a:lnTo>
                          <a:lnTo>
                            <a:pt x="164" y="869"/>
                          </a:lnTo>
                          <a:lnTo>
                            <a:pt x="176" y="800"/>
                          </a:lnTo>
                          <a:lnTo>
                            <a:pt x="201" y="758"/>
                          </a:lnTo>
                          <a:lnTo>
                            <a:pt x="242" y="813"/>
                          </a:lnTo>
                          <a:lnTo>
                            <a:pt x="278" y="789"/>
                          </a:lnTo>
                          <a:lnTo>
                            <a:pt x="273" y="741"/>
                          </a:lnTo>
                          <a:lnTo>
                            <a:pt x="315" y="722"/>
                          </a:lnTo>
                          <a:lnTo>
                            <a:pt x="281" y="590"/>
                          </a:lnTo>
                          <a:lnTo>
                            <a:pt x="266" y="537"/>
                          </a:lnTo>
                          <a:lnTo>
                            <a:pt x="276" y="456"/>
                          </a:lnTo>
                          <a:lnTo>
                            <a:pt x="333" y="417"/>
                          </a:lnTo>
                          <a:lnTo>
                            <a:pt x="324" y="326"/>
                          </a:lnTo>
                          <a:lnTo>
                            <a:pt x="348" y="311"/>
                          </a:lnTo>
                          <a:lnTo>
                            <a:pt x="341" y="191"/>
                          </a:lnTo>
                          <a:lnTo>
                            <a:pt x="308" y="162"/>
                          </a:lnTo>
                          <a:lnTo>
                            <a:pt x="284" y="125"/>
                          </a:lnTo>
                          <a:lnTo>
                            <a:pt x="239" y="126"/>
                          </a:lnTo>
                          <a:lnTo>
                            <a:pt x="203" y="99"/>
                          </a:lnTo>
                          <a:lnTo>
                            <a:pt x="206" y="38"/>
                          </a:lnTo>
                          <a:lnTo>
                            <a:pt x="150" y="32"/>
                          </a:lnTo>
                          <a:lnTo>
                            <a:pt x="131" y="0"/>
                          </a:lnTo>
                          <a:lnTo>
                            <a:pt x="95" y="81"/>
                          </a:lnTo>
                          <a:lnTo>
                            <a:pt x="72" y="122"/>
                          </a:lnTo>
                          <a:lnTo>
                            <a:pt x="12" y="144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37" name="Freeform 36"/>
                    <p:cNvSpPr>
                      <a:spLocks/>
                    </p:cNvSpPr>
                    <p:nvPr/>
                  </p:nvSpPr>
                  <p:spPr bwMode="auto">
                    <a:xfrm>
                      <a:off x="4171" y="1709"/>
                      <a:ext cx="171" cy="207"/>
                    </a:xfrm>
                    <a:custGeom>
                      <a:avLst/>
                      <a:gdLst>
                        <a:gd name="T0" fmla="*/ 12 w 500"/>
                        <a:gd name="T1" fmla="*/ 465 h 605"/>
                        <a:gd name="T2" fmla="*/ 17 w 500"/>
                        <a:gd name="T3" fmla="*/ 413 h 605"/>
                        <a:gd name="T4" fmla="*/ 0 w 500"/>
                        <a:gd name="T5" fmla="*/ 380 h 605"/>
                        <a:gd name="T6" fmla="*/ 24 w 500"/>
                        <a:gd name="T7" fmla="*/ 348 h 605"/>
                        <a:gd name="T8" fmla="*/ 9 w 500"/>
                        <a:gd name="T9" fmla="*/ 308 h 605"/>
                        <a:gd name="T10" fmla="*/ 68 w 500"/>
                        <a:gd name="T11" fmla="*/ 269 h 605"/>
                        <a:gd name="T12" fmla="*/ 69 w 500"/>
                        <a:gd name="T13" fmla="*/ 200 h 605"/>
                        <a:gd name="T14" fmla="*/ 105 w 500"/>
                        <a:gd name="T15" fmla="*/ 156 h 605"/>
                        <a:gd name="T16" fmla="*/ 164 w 500"/>
                        <a:gd name="T17" fmla="*/ 171 h 605"/>
                        <a:gd name="T18" fmla="*/ 203 w 500"/>
                        <a:gd name="T19" fmla="*/ 92 h 605"/>
                        <a:gd name="T20" fmla="*/ 195 w 500"/>
                        <a:gd name="T21" fmla="*/ 71 h 605"/>
                        <a:gd name="T22" fmla="*/ 249 w 500"/>
                        <a:gd name="T23" fmla="*/ 54 h 605"/>
                        <a:gd name="T24" fmla="*/ 354 w 500"/>
                        <a:gd name="T25" fmla="*/ 63 h 605"/>
                        <a:gd name="T26" fmla="*/ 426 w 500"/>
                        <a:gd name="T27" fmla="*/ 0 h 605"/>
                        <a:gd name="T28" fmla="*/ 437 w 500"/>
                        <a:gd name="T29" fmla="*/ 59 h 605"/>
                        <a:gd name="T30" fmla="*/ 459 w 500"/>
                        <a:gd name="T31" fmla="*/ 65 h 605"/>
                        <a:gd name="T32" fmla="*/ 449 w 500"/>
                        <a:gd name="T33" fmla="*/ 111 h 605"/>
                        <a:gd name="T34" fmla="*/ 429 w 500"/>
                        <a:gd name="T35" fmla="*/ 135 h 605"/>
                        <a:gd name="T36" fmla="*/ 456 w 500"/>
                        <a:gd name="T37" fmla="*/ 164 h 605"/>
                        <a:gd name="T38" fmla="*/ 500 w 500"/>
                        <a:gd name="T39" fmla="*/ 168 h 605"/>
                        <a:gd name="T40" fmla="*/ 492 w 500"/>
                        <a:gd name="T41" fmla="*/ 209 h 605"/>
                        <a:gd name="T42" fmla="*/ 437 w 500"/>
                        <a:gd name="T43" fmla="*/ 345 h 605"/>
                        <a:gd name="T44" fmla="*/ 392 w 500"/>
                        <a:gd name="T45" fmla="*/ 455 h 605"/>
                        <a:gd name="T46" fmla="*/ 360 w 500"/>
                        <a:gd name="T47" fmla="*/ 605 h 605"/>
                        <a:gd name="T48" fmla="*/ 333 w 500"/>
                        <a:gd name="T49" fmla="*/ 594 h 605"/>
                        <a:gd name="T50" fmla="*/ 312 w 500"/>
                        <a:gd name="T51" fmla="*/ 564 h 605"/>
                        <a:gd name="T52" fmla="*/ 243 w 500"/>
                        <a:gd name="T53" fmla="*/ 572 h 605"/>
                        <a:gd name="T54" fmla="*/ 219 w 500"/>
                        <a:gd name="T55" fmla="*/ 551 h 605"/>
                        <a:gd name="T56" fmla="*/ 168 w 500"/>
                        <a:gd name="T57" fmla="*/ 581 h 605"/>
                        <a:gd name="T58" fmla="*/ 122 w 500"/>
                        <a:gd name="T59" fmla="*/ 534 h 605"/>
                        <a:gd name="T60" fmla="*/ 90 w 500"/>
                        <a:gd name="T61" fmla="*/ 554 h 605"/>
                        <a:gd name="T62" fmla="*/ 44 w 500"/>
                        <a:gd name="T63" fmla="*/ 552 h 605"/>
                        <a:gd name="T64" fmla="*/ 11 w 500"/>
                        <a:gd name="T65" fmla="*/ 525 h 605"/>
                        <a:gd name="T66" fmla="*/ 12 w 500"/>
                        <a:gd name="T67" fmla="*/ 465 h 60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</a:cxnLst>
                      <a:rect l="0" t="0" r="r" b="b"/>
                      <a:pathLst>
                        <a:path w="500" h="605">
                          <a:moveTo>
                            <a:pt x="12" y="465"/>
                          </a:moveTo>
                          <a:lnTo>
                            <a:pt x="17" y="413"/>
                          </a:lnTo>
                          <a:lnTo>
                            <a:pt x="0" y="380"/>
                          </a:lnTo>
                          <a:lnTo>
                            <a:pt x="24" y="348"/>
                          </a:lnTo>
                          <a:lnTo>
                            <a:pt x="9" y="308"/>
                          </a:lnTo>
                          <a:lnTo>
                            <a:pt x="68" y="269"/>
                          </a:lnTo>
                          <a:lnTo>
                            <a:pt x="69" y="200"/>
                          </a:lnTo>
                          <a:lnTo>
                            <a:pt x="105" y="156"/>
                          </a:lnTo>
                          <a:lnTo>
                            <a:pt x="164" y="171"/>
                          </a:lnTo>
                          <a:lnTo>
                            <a:pt x="203" y="92"/>
                          </a:lnTo>
                          <a:lnTo>
                            <a:pt x="195" y="71"/>
                          </a:lnTo>
                          <a:lnTo>
                            <a:pt x="249" y="54"/>
                          </a:lnTo>
                          <a:lnTo>
                            <a:pt x="354" y="63"/>
                          </a:lnTo>
                          <a:lnTo>
                            <a:pt x="426" y="0"/>
                          </a:lnTo>
                          <a:lnTo>
                            <a:pt x="437" y="59"/>
                          </a:lnTo>
                          <a:lnTo>
                            <a:pt x="459" y="65"/>
                          </a:lnTo>
                          <a:lnTo>
                            <a:pt x="449" y="111"/>
                          </a:lnTo>
                          <a:lnTo>
                            <a:pt x="429" y="135"/>
                          </a:lnTo>
                          <a:lnTo>
                            <a:pt x="456" y="164"/>
                          </a:lnTo>
                          <a:lnTo>
                            <a:pt x="500" y="168"/>
                          </a:lnTo>
                          <a:lnTo>
                            <a:pt x="492" y="209"/>
                          </a:lnTo>
                          <a:lnTo>
                            <a:pt x="437" y="345"/>
                          </a:lnTo>
                          <a:lnTo>
                            <a:pt x="392" y="455"/>
                          </a:lnTo>
                          <a:lnTo>
                            <a:pt x="360" y="605"/>
                          </a:lnTo>
                          <a:lnTo>
                            <a:pt x="333" y="594"/>
                          </a:lnTo>
                          <a:lnTo>
                            <a:pt x="312" y="564"/>
                          </a:lnTo>
                          <a:lnTo>
                            <a:pt x="243" y="572"/>
                          </a:lnTo>
                          <a:lnTo>
                            <a:pt x="219" y="551"/>
                          </a:lnTo>
                          <a:lnTo>
                            <a:pt x="168" y="581"/>
                          </a:lnTo>
                          <a:lnTo>
                            <a:pt x="122" y="534"/>
                          </a:lnTo>
                          <a:lnTo>
                            <a:pt x="90" y="554"/>
                          </a:lnTo>
                          <a:lnTo>
                            <a:pt x="44" y="552"/>
                          </a:lnTo>
                          <a:lnTo>
                            <a:pt x="11" y="525"/>
                          </a:lnTo>
                          <a:lnTo>
                            <a:pt x="12" y="465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38" name="Freeform 37"/>
                    <p:cNvSpPr>
                      <a:spLocks/>
                    </p:cNvSpPr>
                    <p:nvPr/>
                  </p:nvSpPr>
                  <p:spPr bwMode="auto">
                    <a:xfrm>
                      <a:off x="4191" y="1552"/>
                      <a:ext cx="182" cy="216"/>
                    </a:xfrm>
                    <a:custGeom>
                      <a:avLst/>
                      <a:gdLst>
                        <a:gd name="T0" fmla="*/ 42 w 528"/>
                        <a:gd name="T1" fmla="*/ 615 h 630"/>
                        <a:gd name="T2" fmla="*/ 50 w 528"/>
                        <a:gd name="T3" fmla="*/ 575 h 630"/>
                        <a:gd name="T4" fmla="*/ 0 w 528"/>
                        <a:gd name="T5" fmla="*/ 528 h 630"/>
                        <a:gd name="T6" fmla="*/ 93 w 528"/>
                        <a:gd name="T7" fmla="*/ 416 h 630"/>
                        <a:gd name="T8" fmla="*/ 140 w 528"/>
                        <a:gd name="T9" fmla="*/ 441 h 630"/>
                        <a:gd name="T10" fmla="*/ 185 w 528"/>
                        <a:gd name="T11" fmla="*/ 389 h 630"/>
                        <a:gd name="T12" fmla="*/ 180 w 528"/>
                        <a:gd name="T13" fmla="*/ 314 h 630"/>
                        <a:gd name="T14" fmla="*/ 239 w 528"/>
                        <a:gd name="T15" fmla="*/ 201 h 630"/>
                        <a:gd name="T16" fmla="*/ 266 w 528"/>
                        <a:gd name="T17" fmla="*/ 201 h 630"/>
                        <a:gd name="T18" fmla="*/ 291 w 528"/>
                        <a:gd name="T19" fmla="*/ 184 h 630"/>
                        <a:gd name="T20" fmla="*/ 294 w 528"/>
                        <a:gd name="T21" fmla="*/ 138 h 630"/>
                        <a:gd name="T22" fmla="*/ 392 w 528"/>
                        <a:gd name="T23" fmla="*/ 93 h 630"/>
                        <a:gd name="T24" fmla="*/ 410 w 528"/>
                        <a:gd name="T25" fmla="*/ 55 h 630"/>
                        <a:gd name="T26" fmla="*/ 437 w 528"/>
                        <a:gd name="T27" fmla="*/ 37 h 630"/>
                        <a:gd name="T28" fmla="*/ 455 w 528"/>
                        <a:gd name="T29" fmla="*/ 46 h 630"/>
                        <a:gd name="T30" fmla="*/ 485 w 528"/>
                        <a:gd name="T31" fmla="*/ 0 h 630"/>
                        <a:gd name="T32" fmla="*/ 515 w 528"/>
                        <a:gd name="T33" fmla="*/ 24 h 630"/>
                        <a:gd name="T34" fmla="*/ 495 w 528"/>
                        <a:gd name="T35" fmla="*/ 63 h 630"/>
                        <a:gd name="T36" fmla="*/ 528 w 528"/>
                        <a:gd name="T37" fmla="*/ 109 h 630"/>
                        <a:gd name="T38" fmla="*/ 489 w 528"/>
                        <a:gd name="T39" fmla="*/ 139 h 630"/>
                        <a:gd name="T40" fmla="*/ 503 w 528"/>
                        <a:gd name="T41" fmla="*/ 222 h 630"/>
                        <a:gd name="T42" fmla="*/ 525 w 528"/>
                        <a:gd name="T43" fmla="*/ 303 h 630"/>
                        <a:gd name="T44" fmla="*/ 495 w 528"/>
                        <a:gd name="T45" fmla="*/ 368 h 630"/>
                        <a:gd name="T46" fmla="*/ 497 w 528"/>
                        <a:gd name="T47" fmla="*/ 411 h 630"/>
                        <a:gd name="T48" fmla="*/ 459 w 528"/>
                        <a:gd name="T49" fmla="*/ 485 h 630"/>
                        <a:gd name="T50" fmla="*/ 398 w 528"/>
                        <a:gd name="T51" fmla="*/ 524 h 630"/>
                        <a:gd name="T52" fmla="*/ 377 w 528"/>
                        <a:gd name="T53" fmla="*/ 518 h 630"/>
                        <a:gd name="T54" fmla="*/ 365 w 528"/>
                        <a:gd name="T55" fmla="*/ 458 h 630"/>
                        <a:gd name="T56" fmla="*/ 296 w 528"/>
                        <a:gd name="T57" fmla="*/ 521 h 630"/>
                        <a:gd name="T58" fmla="*/ 189 w 528"/>
                        <a:gd name="T59" fmla="*/ 513 h 630"/>
                        <a:gd name="T60" fmla="*/ 135 w 528"/>
                        <a:gd name="T61" fmla="*/ 528 h 630"/>
                        <a:gd name="T62" fmla="*/ 143 w 528"/>
                        <a:gd name="T63" fmla="*/ 551 h 630"/>
                        <a:gd name="T64" fmla="*/ 104 w 528"/>
                        <a:gd name="T65" fmla="*/ 630 h 630"/>
                        <a:gd name="T66" fmla="*/ 42 w 528"/>
                        <a:gd name="T67" fmla="*/ 615 h 63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</a:cxnLst>
                      <a:rect l="0" t="0" r="r" b="b"/>
                      <a:pathLst>
                        <a:path w="528" h="630">
                          <a:moveTo>
                            <a:pt x="42" y="615"/>
                          </a:moveTo>
                          <a:lnTo>
                            <a:pt x="50" y="575"/>
                          </a:lnTo>
                          <a:lnTo>
                            <a:pt x="0" y="528"/>
                          </a:lnTo>
                          <a:lnTo>
                            <a:pt x="93" y="416"/>
                          </a:lnTo>
                          <a:lnTo>
                            <a:pt x="140" y="441"/>
                          </a:lnTo>
                          <a:lnTo>
                            <a:pt x="185" y="389"/>
                          </a:lnTo>
                          <a:lnTo>
                            <a:pt x="180" y="314"/>
                          </a:lnTo>
                          <a:lnTo>
                            <a:pt x="239" y="201"/>
                          </a:lnTo>
                          <a:lnTo>
                            <a:pt x="266" y="201"/>
                          </a:lnTo>
                          <a:lnTo>
                            <a:pt x="291" y="184"/>
                          </a:lnTo>
                          <a:lnTo>
                            <a:pt x="294" y="138"/>
                          </a:lnTo>
                          <a:lnTo>
                            <a:pt x="392" y="93"/>
                          </a:lnTo>
                          <a:lnTo>
                            <a:pt x="410" y="55"/>
                          </a:lnTo>
                          <a:lnTo>
                            <a:pt x="437" y="37"/>
                          </a:lnTo>
                          <a:lnTo>
                            <a:pt x="455" y="46"/>
                          </a:lnTo>
                          <a:lnTo>
                            <a:pt x="485" y="0"/>
                          </a:lnTo>
                          <a:lnTo>
                            <a:pt x="515" y="24"/>
                          </a:lnTo>
                          <a:lnTo>
                            <a:pt x="495" y="63"/>
                          </a:lnTo>
                          <a:lnTo>
                            <a:pt x="528" y="109"/>
                          </a:lnTo>
                          <a:lnTo>
                            <a:pt x="489" y="139"/>
                          </a:lnTo>
                          <a:lnTo>
                            <a:pt x="503" y="222"/>
                          </a:lnTo>
                          <a:lnTo>
                            <a:pt x="525" y="303"/>
                          </a:lnTo>
                          <a:lnTo>
                            <a:pt x="495" y="368"/>
                          </a:lnTo>
                          <a:lnTo>
                            <a:pt x="497" y="411"/>
                          </a:lnTo>
                          <a:lnTo>
                            <a:pt x="459" y="485"/>
                          </a:lnTo>
                          <a:lnTo>
                            <a:pt x="398" y="524"/>
                          </a:lnTo>
                          <a:lnTo>
                            <a:pt x="377" y="518"/>
                          </a:lnTo>
                          <a:lnTo>
                            <a:pt x="365" y="458"/>
                          </a:lnTo>
                          <a:lnTo>
                            <a:pt x="296" y="521"/>
                          </a:lnTo>
                          <a:lnTo>
                            <a:pt x="189" y="513"/>
                          </a:lnTo>
                          <a:lnTo>
                            <a:pt x="135" y="528"/>
                          </a:lnTo>
                          <a:lnTo>
                            <a:pt x="143" y="551"/>
                          </a:lnTo>
                          <a:lnTo>
                            <a:pt x="104" y="630"/>
                          </a:lnTo>
                          <a:lnTo>
                            <a:pt x="42" y="615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39" name="Freeform 38"/>
                    <p:cNvSpPr>
                      <a:spLocks/>
                    </p:cNvSpPr>
                    <p:nvPr/>
                  </p:nvSpPr>
                  <p:spPr bwMode="auto">
                    <a:xfrm>
                      <a:off x="4000" y="1275"/>
                      <a:ext cx="566" cy="317"/>
                    </a:xfrm>
                    <a:custGeom>
                      <a:avLst/>
                      <a:gdLst>
                        <a:gd name="T0" fmla="*/ 147 w 1647"/>
                        <a:gd name="T1" fmla="*/ 864 h 927"/>
                        <a:gd name="T2" fmla="*/ 144 w 1647"/>
                        <a:gd name="T3" fmla="*/ 747 h 927"/>
                        <a:gd name="T4" fmla="*/ 0 w 1647"/>
                        <a:gd name="T5" fmla="*/ 695 h 927"/>
                        <a:gd name="T6" fmla="*/ 102 w 1647"/>
                        <a:gd name="T7" fmla="*/ 674 h 927"/>
                        <a:gd name="T8" fmla="*/ 213 w 1647"/>
                        <a:gd name="T9" fmla="*/ 633 h 927"/>
                        <a:gd name="T10" fmla="*/ 307 w 1647"/>
                        <a:gd name="T11" fmla="*/ 507 h 927"/>
                        <a:gd name="T12" fmla="*/ 411 w 1647"/>
                        <a:gd name="T13" fmla="*/ 450 h 927"/>
                        <a:gd name="T14" fmla="*/ 424 w 1647"/>
                        <a:gd name="T15" fmla="*/ 408 h 927"/>
                        <a:gd name="T16" fmla="*/ 631 w 1647"/>
                        <a:gd name="T17" fmla="*/ 312 h 927"/>
                        <a:gd name="T18" fmla="*/ 715 w 1647"/>
                        <a:gd name="T19" fmla="*/ 153 h 927"/>
                        <a:gd name="T20" fmla="*/ 802 w 1647"/>
                        <a:gd name="T21" fmla="*/ 71 h 927"/>
                        <a:gd name="T22" fmla="*/ 873 w 1647"/>
                        <a:gd name="T23" fmla="*/ 123 h 927"/>
                        <a:gd name="T24" fmla="*/ 981 w 1647"/>
                        <a:gd name="T25" fmla="*/ 143 h 927"/>
                        <a:gd name="T26" fmla="*/ 1066 w 1647"/>
                        <a:gd name="T27" fmla="*/ 90 h 927"/>
                        <a:gd name="T28" fmla="*/ 1230 w 1647"/>
                        <a:gd name="T29" fmla="*/ 0 h 927"/>
                        <a:gd name="T30" fmla="*/ 1294 w 1647"/>
                        <a:gd name="T31" fmla="*/ 44 h 927"/>
                        <a:gd name="T32" fmla="*/ 1261 w 1647"/>
                        <a:gd name="T33" fmla="*/ 92 h 927"/>
                        <a:gd name="T34" fmla="*/ 1270 w 1647"/>
                        <a:gd name="T35" fmla="*/ 165 h 927"/>
                        <a:gd name="T36" fmla="*/ 1363 w 1647"/>
                        <a:gd name="T37" fmla="*/ 140 h 927"/>
                        <a:gd name="T38" fmla="*/ 1314 w 1647"/>
                        <a:gd name="T39" fmla="*/ 296 h 927"/>
                        <a:gd name="T40" fmla="*/ 1353 w 1647"/>
                        <a:gd name="T41" fmla="*/ 345 h 927"/>
                        <a:gd name="T42" fmla="*/ 1447 w 1647"/>
                        <a:gd name="T43" fmla="*/ 305 h 927"/>
                        <a:gd name="T44" fmla="*/ 1636 w 1647"/>
                        <a:gd name="T45" fmla="*/ 348 h 927"/>
                        <a:gd name="T46" fmla="*/ 1609 w 1647"/>
                        <a:gd name="T47" fmla="*/ 383 h 927"/>
                        <a:gd name="T48" fmla="*/ 1635 w 1647"/>
                        <a:gd name="T49" fmla="*/ 399 h 927"/>
                        <a:gd name="T50" fmla="*/ 1609 w 1647"/>
                        <a:gd name="T51" fmla="*/ 456 h 927"/>
                        <a:gd name="T52" fmla="*/ 1510 w 1647"/>
                        <a:gd name="T53" fmla="*/ 570 h 927"/>
                        <a:gd name="T54" fmla="*/ 1617 w 1647"/>
                        <a:gd name="T55" fmla="*/ 710 h 927"/>
                        <a:gd name="T56" fmla="*/ 1527 w 1647"/>
                        <a:gd name="T57" fmla="*/ 690 h 927"/>
                        <a:gd name="T58" fmla="*/ 1450 w 1647"/>
                        <a:gd name="T59" fmla="*/ 639 h 927"/>
                        <a:gd name="T60" fmla="*/ 1315 w 1647"/>
                        <a:gd name="T61" fmla="*/ 696 h 927"/>
                        <a:gd name="T62" fmla="*/ 1225 w 1647"/>
                        <a:gd name="T63" fmla="*/ 798 h 927"/>
                        <a:gd name="T64" fmla="*/ 1131 w 1647"/>
                        <a:gd name="T65" fmla="*/ 900 h 927"/>
                        <a:gd name="T66" fmla="*/ 1081 w 1647"/>
                        <a:gd name="T67" fmla="*/ 914 h 927"/>
                        <a:gd name="T68" fmla="*/ 1071 w 1647"/>
                        <a:gd name="T69" fmla="*/ 833 h 927"/>
                        <a:gd name="T70" fmla="*/ 1126 w 1647"/>
                        <a:gd name="T71" fmla="*/ 764 h 927"/>
                        <a:gd name="T72" fmla="*/ 1191 w 1647"/>
                        <a:gd name="T73" fmla="*/ 734 h 927"/>
                        <a:gd name="T74" fmla="*/ 1275 w 1647"/>
                        <a:gd name="T75" fmla="*/ 648 h 927"/>
                        <a:gd name="T76" fmla="*/ 1197 w 1647"/>
                        <a:gd name="T77" fmla="*/ 570 h 927"/>
                        <a:gd name="T78" fmla="*/ 1149 w 1647"/>
                        <a:gd name="T79" fmla="*/ 480 h 927"/>
                        <a:gd name="T80" fmla="*/ 1015 w 1647"/>
                        <a:gd name="T81" fmla="*/ 540 h 927"/>
                        <a:gd name="T82" fmla="*/ 861 w 1647"/>
                        <a:gd name="T83" fmla="*/ 641 h 927"/>
                        <a:gd name="T84" fmla="*/ 763 w 1647"/>
                        <a:gd name="T85" fmla="*/ 630 h 927"/>
                        <a:gd name="T86" fmla="*/ 717 w 1647"/>
                        <a:gd name="T87" fmla="*/ 726 h 927"/>
                        <a:gd name="T88" fmla="*/ 648 w 1647"/>
                        <a:gd name="T89" fmla="*/ 843 h 927"/>
                        <a:gd name="T90" fmla="*/ 495 w 1647"/>
                        <a:gd name="T91" fmla="*/ 875 h 927"/>
                        <a:gd name="T92" fmla="*/ 337 w 1647"/>
                        <a:gd name="T93" fmla="*/ 869 h 927"/>
                        <a:gd name="T94" fmla="*/ 180 w 1647"/>
                        <a:gd name="T95" fmla="*/ 927 h 9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</a:cxnLst>
                      <a:rect l="0" t="0" r="r" b="b"/>
                      <a:pathLst>
                        <a:path w="1647" h="927">
                          <a:moveTo>
                            <a:pt x="180" y="927"/>
                          </a:moveTo>
                          <a:lnTo>
                            <a:pt x="147" y="864"/>
                          </a:lnTo>
                          <a:lnTo>
                            <a:pt x="154" y="795"/>
                          </a:lnTo>
                          <a:lnTo>
                            <a:pt x="144" y="747"/>
                          </a:lnTo>
                          <a:lnTo>
                            <a:pt x="12" y="741"/>
                          </a:lnTo>
                          <a:lnTo>
                            <a:pt x="0" y="695"/>
                          </a:lnTo>
                          <a:lnTo>
                            <a:pt x="28" y="659"/>
                          </a:lnTo>
                          <a:lnTo>
                            <a:pt x="102" y="674"/>
                          </a:lnTo>
                          <a:lnTo>
                            <a:pt x="184" y="617"/>
                          </a:lnTo>
                          <a:lnTo>
                            <a:pt x="213" y="633"/>
                          </a:lnTo>
                          <a:lnTo>
                            <a:pt x="294" y="600"/>
                          </a:lnTo>
                          <a:lnTo>
                            <a:pt x="307" y="507"/>
                          </a:lnTo>
                          <a:lnTo>
                            <a:pt x="351" y="504"/>
                          </a:lnTo>
                          <a:lnTo>
                            <a:pt x="411" y="450"/>
                          </a:lnTo>
                          <a:lnTo>
                            <a:pt x="442" y="447"/>
                          </a:lnTo>
                          <a:lnTo>
                            <a:pt x="424" y="408"/>
                          </a:lnTo>
                          <a:lnTo>
                            <a:pt x="474" y="335"/>
                          </a:lnTo>
                          <a:lnTo>
                            <a:pt x="631" y="312"/>
                          </a:lnTo>
                          <a:lnTo>
                            <a:pt x="657" y="252"/>
                          </a:lnTo>
                          <a:lnTo>
                            <a:pt x="715" y="153"/>
                          </a:lnTo>
                          <a:lnTo>
                            <a:pt x="801" y="110"/>
                          </a:lnTo>
                          <a:lnTo>
                            <a:pt x="802" y="71"/>
                          </a:lnTo>
                          <a:lnTo>
                            <a:pt x="835" y="75"/>
                          </a:lnTo>
                          <a:lnTo>
                            <a:pt x="873" y="123"/>
                          </a:lnTo>
                          <a:lnTo>
                            <a:pt x="931" y="123"/>
                          </a:lnTo>
                          <a:lnTo>
                            <a:pt x="981" y="143"/>
                          </a:lnTo>
                          <a:lnTo>
                            <a:pt x="1069" y="146"/>
                          </a:lnTo>
                          <a:lnTo>
                            <a:pt x="1066" y="90"/>
                          </a:lnTo>
                          <a:lnTo>
                            <a:pt x="1141" y="35"/>
                          </a:lnTo>
                          <a:lnTo>
                            <a:pt x="1230" y="0"/>
                          </a:lnTo>
                          <a:lnTo>
                            <a:pt x="1270" y="50"/>
                          </a:lnTo>
                          <a:lnTo>
                            <a:pt x="1294" y="44"/>
                          </a:lnTo>
                          <a:lnTo>
                            <a:pt x="1306" y="68"/>
                          </a:lnTo>
                          <a:lnTo>
                            <a:pt x="1261" y="92"/>
                          </a:lnTo>
                          <a:lnTo>
                            <a:pt x="1239" y="132"/>
                          </a:lnTo>
                          <a:lnTo>
                            <a:pt x="1270" y="165"/>
                          </a:lnTo>
                          <a:lnTo>
                            <a:pt x="1309" y="125"/>
                          </a:lnTo>
                          <a:lnTo>
                            <a:pt x="1363" y="140"/>
                          </a:lnTo>
                          <a:lnTo>
                            <a:pt x="1381" y="198"/>
                          </a:lnTo>
                          <a:lnTo>
                            <a:pt x="1314" y="296"/>
                          </a:lnTo>
                          <a:lnTo>
                            <a:pt x="1321" y="335"/>
                          </a:lnTo>
                          <a:lnTo>
                            <a:pt x="1353" y="345"/>
                          </a:lnTo>
                          <a:lnTo>
                            <a:pt x="1387" y="308"/>
                          </a:lnTo>
                          <a:lnTo>
                            <a:pt x="1447" y="305"/>
                          </a:lnTo>
                          <a:lnTo>
                            <a:pt x="1561" y="327"/>
                          </a:lnTo>
                          <a:lnTo>
                            <a:pt x="1636" y="348"/>
                          </a:lnTo>
                          <a:lnTo>
                            <a:pt x="1636" y="369"/>
                          </a:lnTo>
                          <a:lnTo>
                            <a:pt x="1609" y="383"/>
                          </a:lnTo>
                          <a:lnTo>
                            <a:pt x="1623" y="401"/>
                          </a:lnTo>
                          <a:lnTo>
                            <a:pt x="1635" y="399"/>
                          </a:lnTo>
                          <a:lnTo>
                            <a:pt x="1647" y="449"/>
                          </a:lnTo>
                          <a:lnTo>
                            <a:pt x="1609" y="456"/>
                          </a:lnTo>
                          <a:lnTo>
                            <a:pt x="1585" y="491"/>
                          </a:lnTo>
                          <a:lnTo>
                            <a:pt x="1510" y="570"/>
                          </a:lnTo>
                          <a:lnTo>
                            <a:pt x="1551" y="636"/>
                          </a:lnTo>
                          <a:lnTo>
                            <a:pt x="1617" y="710"/>
                          </a:lnTo>
                          <a:lnTo>
                            <a:pt x="1554" y="713"/>
                          </a:lnTo>
                          <a:lnTo>
                            <a:pt x="1527" y="690"/>
                          </a:lnTo>
                          <a:lnTo>
                            <a:pt x="1497" y="638"/>
                          </a:lnTo>
                          <a:lnTo>
                            <a:pt x="1450" y="639"/>
                          </a:lnTo>
                          <a:lnTo>
                            <a:pt x="1423" y="675"/>
                          </a:lnTo>
                          <a:lnTo>
                            <a:pt x="1315" y="696"/>
                          </a:lnTo>
                          <a:lnTo>
                            <a:pt x="1273" y="764"/>
                          </a:lnTo>
                          <a:lnTo>
                            <a:pt x="1225" y="798"/>
                          </a:lnTo>
                          <a:lnTo>
                            <a:pt x="1185" y="840"/>
                          </a:lnTo>
                          <a:lnTo>
                            <a:pt x="1131" y="900"/>
                          </a:lnTo>
                          <a:lnTo>
                            <a:pt x="1096" y="927"/>
                          </a:lnTo>
                          <a:lnTo>
                            <a:pt x="1081" y="914"/>
                          </a:lnTo>
                          <a:lnTo>
                            <a:pt x="1051" y="873"/>
                          </a:lnTo>
                          <a:lnTo>
                            <a:pt x="1071" y="833"/>
                          </a:lnTo>
                          <a:lnTo>
                            <a:pt x="1053" y="813"/>
                          </a:lnTo>
                          <a:lnTo>
                            <a:pt x="1126" y="764"/>
                          </a:lnTo>
                          <a:lnTo>
                            <a:pt x="1128" y="729"/>
                          </a:lnTo>
                          <a:lnTo>
                            <a:pt x="1191" y="734"/>
                          </a:lnTo>
                          <a:lnTo>
                            <a:pt x="1260" y="701"/>
                          </a:lnTo>
                          <a:lnTo>
                            <a:pt x="1275" y="648"/>
                          </a:lnTo>
                          <a:lnTo>
                            <a:pt x="1242" y="662"/>
                          </a:lnTo>
                          <a:lnTo>
                            <a:pt x="1197" y="570"/>
                          </a:lnTo>
                          <a:lnTo>
                            <a:pt x="1246" y="477"/>
                          </a:lnTo>
                          <a:lnTo>
                            <a:pt x="1149" y="480"/>
                          </a:lnTo>
                          <a:lnTo>
                            <a:pt x="1083" y="530"/>
                          </a:lnTo>
                          <a:lnTo>
                            <a:pt x="1015" y="540"/>
                          </a:lnTo>
                          <a:lnTo>
                            <a:pt x="918" y="609"/>
                          </a:lnTo>
                          <a:lnTo>
                            <a:pt x="861" y="641"/>
                          </a:lnTo>
                          <a:lnTo>
                            <a:pt x="807" y="647"/>
                          </a:lnTo>
                          <a:lnTo>
                            <a:pt x="763" y="630"/>
                          </a:lnTo>
                          <a:lnTo>
                            <a:pt x="757" y="683"/>
                          </a:lnTo>
                          <a:lnTo>
                            <a:pt x="717" y="726"/>
                          </a:lnTo>
                          <a:lnTo>
                            <a:pt x="661" y="794"/>
                          </a:lnTo>
                          <a:lnTo>
                            <a:pt x="648" y="843"/>
                          </a:lnTo>
                          <a:lnTo>
                            <a:pt x="601" y="888"/>
                          </a:lnTo>
                          <a:lnTo>
                            <a:pt x="495" y="875"/>
                          </a:lnTo>
                          <a:lnTo>
                            <a:pt x="427" y="912"/>
                          </a:lnTo>
                          <a:lnTo>
                            <a:pt x="337" y="869"/>
                          </a:lnTo>
                          <a:lnTo>
                            <a:pt x="238" y="926"/>
                          </a:lnTo>
                          <a:lnTo>
                            <a:pt x="180" y="927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40" name="Freeform 39"/>
                    <p:cNvSpPr>
                      <a:spLocks/>
                    </p:cNvSpPr>
                    <p:nvPr/>
                  </p:nvSpPr>
                  <p:spPr bwMode="auto">
                    <a:xfrm>
                      <a:off x="3825" y="1437"/>
                      <a:ext cx="613" cy="468"/>
                    </a:xfrm>
                    <a:custGeom>
                      <a:avLst/>
                      <a:gdLst>
                        <a:gd name="T0" fmla="*/ 780 w 1783"/>
                        <a:gd name="T1" fmla="*/ 1224 h 1367"/>
                        <a:gd name="T2" fmla="*/ 768 w 1783"/>
                        <a:gd name="T3" fmla="*/ 1102 h 1367"/>
                        <a:gd name="T4" fmla="*/ 827 w 1783"/>
                        <a:gd name="T5" fmla="*/ 1061 h 1367"/>
                        <a:gd name="T6" fmla="*/ 847 w 1783"/>
                        <a:gd name="T7" fmla="*/ 867 h 1367"/>
                        <a:gd name="T8" fmla="*/ 731 w 1783"/>
                        <a:gd name="T9" fmla="*/ 838 h 1367"/>
                        <a:gd name="T10" fmla="*/ 731 w 1783"/>
                        <a:gd name="T11" fmla="*/ 775 h 1367"/>
                        <a:gd name="T12" fmla="*/ 588 w 1783"/>
                        <a:gd name="T13" fmla="*/ 746 h 1367"/>
                        <a:gd name="T14" fmla="*/ 434 w 1783"/>
                        <a:gd name="T15" fmla="*/ 845 h 1367"/>
                        <a:gd name="T16" fmla="*/ 114 w 1783"/>
                        <a:gd name="T17" fmla="*/ 812 h 1367"/>
                        <a:gd name="T18" fmla="*/ 38 w 1783"/>
                        <a:gd name="T19" fmla="*/ 879 h 1367"/>
                        <a:gd name="T20" fmla="*/ 0 w 1783"/>
                        <a:gd name="T21" fmla="*/ 727 h 1367"/>
                        <a:gd name="T22" fmla="*/ 35 w 1783"/>
                        <a:gd name="T23" fmla="*/ 569 h 1367"/>
                        <a:gd name="T24" fmla="*/ 196 w 1783"/>
                        <a:gd name="T25" fmla="*/ 492 h 1367"/>
                        <a:gd name="T26" fmla="*/ 515 w 1783"/>
                        <a:gd name="T27" fmla="*/ 504 h 1367"/>
                        <a:gd name="T28" fmla="*/ 611 w 1783"/>
                        <a:gd name="T29" fmla="*/ 464 h 1367"/>
                        <a:gd name="T30" fmla="*/ 688 w 1783"/>
                        <a:gd name="T31" fmla="*/ 451 h 1367"/>
                        <a:gd name="T32" fmla="*/ 851 w 1783"/>
                        <a:gd name="T33" fmla="*/ 394 h 1367"/>
                        <a:gd name="T34" fmla="*/ 1002 w 1783"/>
                        <a:gd name="T35" fmla="*/ 399 h 1367"/>
                        <a:gd name="T36" fmla="*/ 1156 w 1783"/>
                        <a:gd name="T37" fmla="*/ 369 h 1367"/>
                        <a:gd name="T38" fmla="*/ 1224 w 1783"/>
                        <a:gd name="T39" fmla="*/ 255 h 1367"/>
                        <a:gd name="T40" fmla="*/ 1270 w 1783"/>
                        <a:gd name="T41" fmla="*/ 155 h 1367"/>
                        <a:gd name="T42" fmla="*/ 1368 w 1783"/>
                        <a:gd name="T43" fmla="*/ 165 h 1367"/>
                        <a:gd name="T44" fmla="*/ 1525 w 1783"/>
                        <a:gd name="T45" fmla="*/ 65 h 1367"/>
                        <a:gd name="T46" fmla="*/ 1660 w 1783"/>
                        <a:gd name="T47" fmla="*/ 5 h 1367"/>
                        <a:gd name="T48" fmla="*/ 1708 w 1783"/>
                        <a:gd name="T49" fmla="*/ 96 h 1367"/>
                        <a:gd name="T50" fmla="*/ 1783 w 1783"/>
                        <a:gd name="T51" fmla="*/ 174 h 1367"/>
                        <a:gd name="T52" fmla="*/ 1704 w 1783"/>
                        <a:gd name="T53" fmla="*/ 261 h 1367"/>
                        <a:gd name="T54" fmla="*/ 1636 w 1783"/>
                        <a:gd name="T55" fmla="*/ 288 h 1367"/>
                        <a:gd name="T56" fmla="*/ 1546 w 1783"/>
                        <a:gd name="T57" fmla="*/ 336 h 1367"/>
                        <a:gd name="T58" fmla="*/ 1498 w 1783"/>
                        <a:gd name="T59" fmla="*/ 369 h 1367"/>
                        <a:gd name="T60" fmla="*/ 1456 w 1783"/>
                        <a:gd name="T61" fmla="*/ 428 h 1367"/>
                        <a:gd name="T62" fmla="*/ 1357 w 1783"/>
                        <a:gd name="T63" fmla="*/ 521 h 1367"/>
                        <a:gd name="T64" fmla="*/ 1305 w 1783"/>
                        <a:gd name="T65" fmla="*/ 536 h 1367"/>
                        <a:gd name="T66" fmla="*/ 1251 w 1783"/>
                        <a:gd name="T67" fmla="*/ 721 h 1367"/>
                        <a:gd name="T68" fmla="*/ 1159 w 1783"/>
                        <a:gd name="T69" fmla="*/ 752 h 1367"/>
                        <a:gd name="T70" fmla="*/ 1117 w 1783"/>
                        <a:gd name="T71" fmla="*/ 910 h 1367"/>
                        <a:gd name="T72" fmla="*/ 1074 w 1783"/>
                        <a:gd name="T73" fmla="*/ 992 h 1367"/>
                        <a:gd name="T74" fmla="*/ 1014 w 1783"/>
                        <a:gd name="T75" fmla="*/ 1102 h 1367"/>
                        <a:gd name="T76" fmla="*/ 1005 w 1783"/>
                        <a:gd name="T77" fmla="*/ 1175 h 1367"/>
                        <a:gd name="T78" fmla="*/ 1018 w 1783"/>
                        <a:gd name="T79" fmla="*/ 1262 h 1367"/>
                        <a:gd name="T80" fmla="*/ 943 w 1783"/>
                        <a:gd name="T81" fmla="*/ 1223 h 1367"/>
                        <a:gd name="T82" fmla="*/ 886 w 1783"/>
                        <a:gd name="T83" fmla="*/ 1346 h 136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</a:cxnLst>
                      <a:rect l="0" t="0" r="r" b="b"/>
                      <a:pathLst>
                        <a:path w="1783" h="1367">
                          <a:moveTo>
                            <a:pt x="826" y="1367"/>
                          </a:moveTo>
                          <a:lnTo>
                            <a:pt x="780" y="1224"/>
                          </a:lnTo>
                          <a:lnTo>
                            <a:pt x="792" y="1136"/>
                          </a:lnTo>
                          <a:lnTo>
                            <a:pt x="768" y="1102"/>
                          </a:lnTo>
                          <a:lnTo>
                            <a:pt x="856" y="1102"/>
                          </a:lnTo>
                          <a:lnTo>
                            <a:pt x="827" y="1061"/>
                          </a:lnTo>
                          <a:lnTo>
                            <a:pt x="904" y="999"/>
                          </a:lnTo>
                          <a:lnTo>
                            <a:pt x="847" y="867"/>
                          </a:lnTo>
                          <a:lnTo>
                            <a:pt x="798" y="831"/>
                          </a:lnTo>
                          <a:lnTo>
                            <a:pt x="731" y="838"/>
                          </a:lnTo>
                          <a:lnTo>
                            <a:pt x="724" y="806"/>
                          </a:lnTo>
                          <a:lnTo>
                            <a:pt x="731" y="775"/>
                          </a:lnTo>
                          <a:lnTo>
                            <a:pt x="684" y="739"/>
                          </a:lnTo>
                          <a:lnTo>
                            <a:pt x="588" y="746"/>
                          </a:lnTo>
                          <a:lnTo>
                            <a:pt x="491" y="842"/>
                          </a:lnTo>
                          <a:lnTo>
                            <a:pt x="434" y="845"/>
                          </a:lnTo>
                          <a:lnTo>
                            <a:pt x="369" y="799"/>
                          </a:lnTo>
                          <a:lnTo>
                            <a:pt x="114" y="812"/>
                          </a:lnTo>
                          <a:lnTo>
                            <a:pt x="76" y="900"/>
                          </a:lnTo>
                          <a:lnTo>
                            <a:pt x="38" y="879"/>
                          </a:lnTo>
                          <a:lnTo>
                            <a:pt x="52" y="819"/>
                          </a:lnTo>
                          <a:lnTo>
                            <a:pt x="0" y="727"/>
                          </a:lnTo>
                          <a:lnTo>
                            <a:pt x="35" y="694"/>
                          </a:lnTo>
                          <a:lnTo>
                            <a:pt x="35" y="569"/>
                          </a:lnTo>
                          <a:lnTo>
                            <a:pt x="127" y="550"/>
                          </a:lnTo>
                          <a:lnTo>
                            <a:pt x="196" y="492"/>
                          </a:lnTo>
                          <a:lnTo>
                            <a:pt x="266" y="536"/>
                          </a:lnTo>
                          <a:lnTo>
                            <a:pt x="515" y="504"/>
                          </a:lnTo>
                          <a:lnTo>
                            <a:pt x="558" y="504"/>
                          </a:lnTo>
                          <a:lnTo>
                            <a:pt x="611" y="464"/>
                          </a:lnTo>
                          <a:lnTo>
                            <a:pt x="678" y="490"/>
                          </a:lnTo>
                          <a:lnTo>
                            <a:pt x="688" y="451"/>
                          </a:lnTo>
                          <a:lnTo>
                            <a:pt x="750" y="452"/>
                          </a:lnTo>
                          <a:lnTo>
                            <a:pt x="851" y="394"/>
                          </a:lnTo>
                          <a:lnTo>
                            <a:pt x="936" y="437"/>
                          </a:lnTo>
                          <a:lnTo>
                            <a:pt x="1002" y="399"/>
                          </a:lnTo>
                          <a:lnTo>
                            <a:pt x="1113" y="413"/>
                          </a:lnTo>
                          <a:lnTo>
                            <a:pt x="1156" y="369"/>
                          </a:lnTo>
                          <a:lnTo>
                            <a:pt x="1170" y="320"/>
                          </a:lnTo>
                          <a:lnTo>
                            <a:pt x="1224" y="255"/>
                          </a:lnTo>
                          <a:lnTo>
                            <a:pt x="1263" y="209"/>
                          </a:lnTo>
                          <a:lnTo>
                            <a:pt x="1270" y="155"/>
                          </a:lnTo>
                          <a:lnTo>
                            <a:pt x="1315" y="171"/>
                          </a:lnTo>
                          <a:lnTo>
                            <a:pt x="1368" y="165"/>
                          </a:lnTo>
                          <a:lnTo>
                            <a:pt x="1429" y="135"/>
                          </a:lnTo>
                          <a:lnTo>
                            <a:pt x="1525" y="65"/>
                          </a:lnTo>
                          <a:lnTo>
                            <a:pt x="1591" y="56"/>
                          </a:lnTo>
                          <a:lnTo>
                            <a:pt x="1660" y="5"/>
                          </a:lnTo>
                          <a:lnTo>
                            <a:pt x="1755" y="0"/>
                          </a:lnTo>
                          <a:lnTo>
                            <a:pt x="1708" y="96"/>
                          </a:lnTo>
                          <a:lnTo>
                            <a:pt x="1752" y="188"/>
                          </a:lnTo>
                          <a:lnTo>
                            <a:pt x="1783" y="174"/>
                          </a:lnTo>
                          <a:lnTo>
                            <a:pt x="1770" y="227"/>
                          </a:lnTo>
                          <a:lnTo>
                            <a:pt x="1704" y="261"/>
                          </a:lnTo>
                          <a:lnTo>
                            <a:pt x="1636" y="254"/>
                          </a:lnTo>
                          <a:lnTo>
                            <a:pt x="1636" y="288"/>
                          </a:lnTo>
                          <a:lnTo>
                            <a:pt x="1563" y="339"/>
                          </a:lnTo>
                          <a:lnTo>
                            <a:pt x="1546" y="336"/>
                          </a:lnTo>
                          <a:lnTo>
                            <a:pt x="1521" y="378"/>
                          </a:lnTo>
                          <a:lnTo>
                            <a:pt x="1498" y="369"/>
                          </a:lnTo>
                          <a:lnTo>
                            <a:pt x="1476" y="389"/>
                          </a:lnTo>
                          <a:lnTo>
                            <a:pt x="1456" y="428"/>
                          </a:lnTo>
                          <a:lnTo>
                            <a:pt x="1357" y="476"/>
                          </a:lnTo>
                          <a:lnTo>
                            <a:pt x="1357" y="521"/>
                          </a:lnTo>
                          <a:lnTo>
                            <a:pt x="1332" y="534"/>
                          </a:lnTo>
                          <a:lnTo>
                            <a:pt x="1305" y="536"/>
                          </a:lnTo>
                          <a:lnTo>
                            <a:pt x="1248" y="648"/>
                          </a:lnTo>
                          <a:lnTo>
                            <a:pt x="1251" y="721"/>
                          </a:lnTo>
                          <a:lnTo>
                            <a:pt x="1207" y="776"/>
                          </a:lnTo>
                          <a:lnTo>
                            <a:pt x="1159" y="752"/>
                          </a:lnTo>
                          <a:lnTo>
                            <a:pt x="1065" y="863"/>
                          </a:lnTo>
                          <a:lnTo>
                            <a:pt x="1117" y="910"/>
                          </a:lnTo>
                          <a:lnTo>
                            <a:pt x="1110" y="952"/>
                          </a:lnTo>
                          <a:lnTo>
                            <a:pt x="1074" y="992"/>
                          </a:lnTo>
                          <a:lnTo>
                            <a:pt x="1074" y="1063"/>
                          </a:lnTo>
                          <a:lnTo>
                            <a:pt x="1014" y="1102"/>
                          </a:lnTo>
                          <a:lnTo>
                            <a:pt x="1029" y="1141"/>
                          </a:lnTo>
                          <a:lnTo>
                            <a:pt x="1005" y="1175"/>
                          </a:lnTo>
                          <a:lnTo>
                            <a:pt x="1021" y="1207"/>
                          </a:lnTo>
                          <a:lnTo>
                            <a:pt x="1018" y="1262"/>
                          </a:lnTo>
                          <a:lnTo>
                            <a:pt x="964" y="1253"/>
                          </a:lnTo>
                          <a:lnTo>
                            <a:pt x="943" y="1223"/>
                          </a:lnTo>
                          <a:lnTo>
                            <a:pt x="919" y="1283"/>
                          </a:lnTo>
                          <a:lnTo>
                            <a:pt x="886" y="1346"/>
                          </a:lnTo>
                          <a:lnTo>
                            <a:pt x="826" y="1367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41" name="Freeform 40"/>
                    <p:cNvSpPr>
                      <a:spLocks/>
                    </p:cNvSpPr>
                    <p:nvPr/>
                  </p:nvSpPr>
                  <p:spPr bwMode="auto">
                    <a:xfrm>
                      <a:off x="3652" y="1488"/>
                      <a:ext cx="90" cy="118"/>
                    </a:xfrm>
                    <a:custGeom>
                      <a:avLst/>
                      <a:gdLst>
                        <a:gd name="T0" fmla="*/ 5 w 260"/>
                        <a:gd name="T1" fmla="*/ 306 h 343"/>
                        <a:gd name="T2" fmla="*/ 9 w 260"/>
                        <a:gd name="T3" fmla="*/ 268 h 343"/>
                        <a:gd name="T4" fmla="*/ 0 w 260"/>
                        <a:gd name="T5" fmla="*/ 234 h 343"/>
                        <a:gd name="T6" fmla="*/ 47 w 260"/>
                        <a:gd name="T7" fmla="*/ 132 h 343"/>
                        <a:gd name="T8" fmla="*/ 42 w 260"/>
                        <a:gd name="T9" fmla="*/ 88 h 343"/>
                        <a:gd name="T10" fmla="*/ 20 w 260"/>
                        <a:gd name="T11" fmla="*/ 55 h 343"/>
                        <a:gd name="T12" fmla="*/ 101 w 260"/>
                        <a:gd name="T13" fmla="*/ 48 h 343"/>
                        <a:gd name="T14" fmla="*/ 185 w 260"/>
                        <a:gd name="T15" fmla="*/ 0 h 343"/>
                        <a:gd name="T16" fmla="*/ 248 w 260"/>
                        <a:gd name="T17" fmla="*/ 66 h 343"/>
                        <a:gd name="T18" fmla="*/ 219 w 260"/>
                        <a:gd name="T19" fmla="*/ 145 h 343"/>
                        <a:gd name="T20" fmla="*/ 219 w 260"/>
                        <a:gd name="T21" fmla="*/ 201 h 343"/>
                        <a:gd name="T22" fmla="*/ 260 w 260"/>
                        <a:gd name="T23" fmla="*/ 243 h 343"/>
                        <a:gd name="T24" fmla="*/ 198 w 260"/>
                        <a:gd name="T25" fmla="*/ 300 h 343"/>
                        <a:gd name="T26" fmla="*/ 147 w 260"/>
                        <a:gd name="T27" fmla="*/ 306 h 343"/>
                        <a:gd name="T28" fmla="*/ 129 w 260"/>
                        <a:gd name="T29" fmla="*/ 343 h 343"/>
                        <a:gd name="T30" fmla="*/ 92 w 260"/>
                        <a:gd name="T31" fmla="*/ 316 h 343"/>
                        <a:gd name="T32" fmla="*/ 39 w 260"/>
                        <a:gd name="T33" fmla="*/ 333 h 343"/>
                        <a:gd name="T34" fmla="*/ 5 w 260"/>
                        <a:gd name="T35" fmla="*/ 306 h 34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</a:cxnLst>
                      <a:rect l="0" t="0" r="r" b="b"/>
                      <a:pathLst>
                        <a:path w="260" h="343">
                          <a:moveTo>
                            <a:pt x="5" y="306"/>
                          </a:moveTo>
                          <a:lnTo>
                            <a:pt x="9" y="268"/>
                          </a:lnTo>
                          <a:lnTo>
                            <a:pt x="0" y="234"/>
                          </a:lnTo>
                          <a:lnTo>
                            <a:pt x="47" y="132"/>
                          </a:lnTo>
                          <a:lnTo>
                            <a:pt x="42" y="88"/>
                          </a:lnTo>
                          <a:lnTo>
                            <a:pt x="20" y="55"/>
                          </a:lnTo>
                          <a:lnTo>
                            <a:pt x="101" y="48"/>
                          </a:lnTo>
                          <a:lnTo>
                            <a:pt x="185" y="0"/>
                          </a:lnTo>
                          <a:lnTo>
                            <a:pt x="248" y="66"/>
                          </a:lnTo>
                          <a:lnTo>
                            <a:pt x="219" y="145"/>
                          </a:lnTo>
                          <a:lnTo>
                            <a:pt x="219" y="201"/>
                          </a:lnTo>
                          <a:lnTo>
                            <a:pt x="260" y="243"/>
                          </a:lnTo>
                          <a:lnTo>
                            <a:pt x="198" y="300"/>
                          </a:lnTo>
                          <a:lnTo>
                            <a:pt x="147" y="306"/>
                          </a:lnTo>
                          <a:lnTo>
                            <a:pt x="129" y="343"/>
                          </a:lnTo>
                          <a:lnTo>
                            <a:pt x="92" y="316"/>
                          </a:lnTo>
                          <a:lnTo>
                            <a:pt x="39" y="333"/>
                          </a:lnTo>
                          <a:lnTo>
                            <a:pt x="5" y="306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42" name="Freeform 41"/>
                    <p:cNvSpPr>
                      <a:spLocks/>
                    </p:cNvSpPr>
                    <p:nvPr/>
                  </p:nvSpPr>
                  <p:spPr bwMode="auto">
                    <a:xfrm>
                      <a:off x="3453" y="1590"/>
                      <a:ext cx="385" cy="622"/>
                    </a:xfrm>
                    <a:custGeom>
                      <a:avLst/>
                      <a:gdLst>
                        <a:gd name="T0" fmla="*/ 969 w 1119"/>
                        <a:gd name="T1" fmla="*/ 78 h 1818"/>
                        <a:gd name="T2" fmla="*/ 823 w 1119"/>
                        <a:gd name="T3" fmla="*/ 4 h 1818"/>
                        <a:gd name="T4" fmla="*/ 709 w 1119"/>
                        <a:gd name="T5" fmla="*/ 43 h 1818"/>
                        <a:gd name="T6" fmla="*/ 583 w 1119"/>
                        <a:gd name="T7" fmla="*/ 6 h 1818"/>
                        <a:gd name="T8" fmla="*/ 627 w 1119"/>
                        <a:gd name="T9" fmla="*/ 198 h 1818"/>
                        <a:gd name="T10" fmla="*/ 579 w 1119"/>
                        <a:gd name="T11" fmla="*/ 329 h 1818"/>
                        <a:gd name="T12" fmla="*/ 552 w 1119"/>
                        <a:gd name="T13" fmla="*/ 429 h 1818"/>
                        <a:gd name="T14" fmla="*/ 576 w 1119"/>
                        <a:gd name="T15" fmla="*/ 543 h 1818"/>
                        <a:gd name="T16" fmla="*/ 556 w 1119"/>
                        <a:gd name="T17" fmla="*/ 647 h 1818"/>
                        <a:gd name="T18" fmla="*/ 607 w 1119"/>
                        <a:gd name="T19" fmla="*/ 821 h 1818"/>
                        <a:gd name="T20" fmla="*/ 544 w 1119"/>
                        <a:gd name="T21" fmla="*/ 960 h 1818"/>
                        <a:gd name="T22" fmla="*/ 475 w 1119"/>
                        <a:gd name="T23" fmla="*/ 1053 h 1818"/>
                        <a:gd name="T24" fmla="*/ 376 w 1119"/>
                        <a:gd name="T25" fmla="*/ 1109 h 1818"/>
                        <a:gd name="T26" fmla="*/ 163 w 1119"/>
                        <a:gd name="T27" fmla="*/ 1205 h 1818"/>
                        <a:gd name="T28" fmla="*/ 93 w 1119"/>
                        <a:gd name="T29" fmla="*/ 1212 h 1818"/>
                        <a:gd name="T30" fmla="*/ 24 w 1119"/>
                        <a:gd name="T31" fmla="*/ 1277 h 1818"/>
                        <a:gd name="T32" fmla="*/ 93 w 1119"/>
                        <a:gd name="T33" fmla="*/ 1355 h 1818"/>
                        <a:gd name="T34" fmla="*/ 234 w 1119"/>
                        <a:gd name="T35" fmla="*/ 1398 h 1818"/>
                        <a:gd name="T36" fmla="*/ 294 w 1119"/>
                        <a:gd name="T37" fmla="*/ 1533 h 1818"/>
                        <a:gd name="T38" fmla="*/ 321 w 1119"/>
                        <a:gd name="T39" fmla="*/ 1634 h 1818"/>
                        <a:gd name="T40" fmla="*/ 388 w 1119"/>
                        <a:gd name="T41" fmla="*/ 1698 h 1818"/>
                        <a:gd name="T42" fmla="*/ 457 w 1119"/>
                        <a:gd name="T43" fmla="*/ 1745 h 1818"/>
                        <a:gd name="T44" fmla="*/ 631 w 1119"/>
                        <a:gd name="T45" fmla="*/ 1784 h 1818"/>
                        <a:gd name="T46" fmla="*/ 709 w 1119"/>
                        <a:gd name="T47" fmla="*/ 1616 h 1818"/>
                        <a:gd name="T48" fmla="*/ 775 w 1119"/>
                        <a:gd name="T49" fmla="*/ 1736 h 1818"/>
                        <a:gd name="T50" fmla="*/ 881 w 1119"/>
                        <a:gd name="T51" fmla="*/ 1638 h 1818"/>
                        <a:gd name="T52" fmla="*/ 957 w 1119"/>
                        <a:gd name="T53" fmla="*/ 1680 h 1818"/>
                        <a:gd name="T54" fmla="*/ 936 w 1119"/>
                        <a:gd name="T55" fmla="*/ 1484 h 1818"/>
                        <a:gd name="T56" fmla="*/ 948 w 1119"/>
                        <a:gd name="T57" fmla="*/ 1272 h 1818"/>
                        <a:gd name="T58" fmla="*/ 807 w 1119"/>
                        <a:gd name="T59" fmla="*/ 1146 h 1818"/>
                        <a:gd name="T60" fmla="*/ 840 w 1119"/>
                        <a:gd name="T61" fmla="*/ 924 h 1818"/>
                        <a:gd name="T62" fmla="*/ 640 w 1119"/>
                        <a:gd name="T63" fmla="*/ 815 h 1818"/>
                        <a:gd name="T64" fmla="*/ 703 w 1119"/>
                        <a:gd name="T65" fmla="*/ 746 h 1818"/>
                        <a:gd name="T66" fmla="*/ 738 w 1119"/>
                        <a:gd name="T67" fmla="*/ 642 h 1818"/>
                        <a:gd name="T68" fmla="*/ 889 w 1119"/>
                        <a:gd name="T69" fmla="*/ 609 h 1818"/>
                        <a:gd name="T70" fmla="*/ 672 w 1119"/>
                        <a:gd name="T71" fmla="*/ 452 h 1818"/>
                        <a:gd name="T72" fmla="*/ 646 w 1119"/>
                        <a:gd name="T73" fmla="*/ 359 h 1818"/>
                        <a:gd name="T74" fmla="*/ 753 w 1119"/>
                        <a:gd name="T75" fmla="*/ 276 h 1818"/>
                        <a:gd name="T76" fmla="*/ 795 w 1119"/>
                        <a:gd name="T77" fmla="*/ 255 h 1818"/>
                        <a:gd name="T78" fmla="*/ 847 w 1119"/>
                        <a:gd name="T79" fmla="*/ 272 h 1818"/>
                        <a:gd name="T80" fmla="*/ 853 w 1119"/>
                        <a:gd name="T81" fmla="*/ 222 h 1818"/>
                        <a:gd name="T82" fmla="*/ 975 w 1119"/>
                        <a:gd name="T83" fmla="*/ 339 h 1818"/>
                        <a:gd name="T84" fmla="*/ 1081 w 1119"/>
                        <a:gd name="T85" fmla="*/ 279 h 18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</a:cxnLst>
                      <a:rect l="0" t="0" r="r" b="b"/>
                      <a:pathLst>
                        <a:path w="1119" h="1818">
                          <a:moveTo>
                            <a:pt x="1114" y="123"/>
                          </a:moveTo>
                          <a:lnTo>
                            <a:pt x="1032" y="96"/>
                          </a:lnTo>
                          <a:lnTo>
                            <a:pt x="969" y="78"/>
                          </a:lnTo>
                          <a:lnTo>
                            <a:pt x="931" y="104"/>
                          </a:lnTo>
                          <a:lnTo>
                            <a:pt x="834" y="48"/>
                          </a:lnTo>
                          <a:lnTo>
                            <a:pt x="823" y="4"/>
                          </a:lnTo>
                          <a:lnTo>
                            <a:pt x="777" y="0"/>
                          </a:lnTo>
                          <a:lnTo>
                            <a:pt x="723" y="7"/>
                          </a:lnTo>
                          <a:lnTo>
                            <a:pt x="709" y="43"/>
                          </a:lnTo>
                          <a:lnTo>
                            <a:pt x="670" y="19"/>
                          </a:lnTo>
                          <a:lnTo>
                            <a:pt x="619" y="34"/>
                          </a:lnTo>
                          <a:lnTo>
                            <a:pt x="583" y="6"/>
                          </a:lnTo>
                          <a:lnTo>
                            <a:pt x="571" y="24"/>
                          </a:lnTo>
                          <a:lnTo>
                            <a:pt x="648" y="138"/>
                          </a:lnTo>
                          <a:lnTo>
                            <a:pt x="627" y="198"/>
                          </a:lnTo>
                          <a:lnTo>
                            <a:pt x="678" y="279"/>
                          </a:lnTo>
                          <a:lnTo>
                            <a:pt x="616" y="332"/>
                          </a:lnTo>
                          <a:lnTo>
                            <a:pt x="579" y="329"/>
                          </a:lnTo>
                          <a:lnTo>
                            <a:pt x="592" y="363"/>
                          </a:lnTo>
                          <a:lnTo>
                            <a:pt x="561" y="369"/>
                          </a:lnTo>
                          <a:lnTo>
                            <a:pt x="552" y="429"/>
                          </a:lnTo>
                          <a:lnTo>
                            <a:pt x="616" y="489"/>
                          </a:lnTo>
                          <a:lnTo>
                            <a:pt x="634" y="554"/>
                          </a:lnTo>
                          <a:lnTo>
                            <a:pt x="576" y="543"/>
                          </a:lnTo>
                          <a:lnTo>
                            <a:pt x="549" y="591"/>
                          </a:lnTo>
                          <a:lnTo>
                            <a:pt x="579" y="618"/>
                          </a:lnTo>
                          <a:lnTo>
                            <a:pt x="556" y="647"/>
                          </a:lnTo>
                          <a:lnTo>
                            <a:pt x="588" y="753"/>
                          </a:lnTo>
                          <a:lnTo>
                            <a:pt x="567" y="794"/>
                          </a:lnTo>
                          <a:lnTo>
                            <a:pt x="607" y="821"/>
                          </a:lnTo>
                          <a:lnTo>
                            <a:pt x="558" y="857"/>
                          </a:lnTo>
                          <a:lnTo>
                            <a:pt x="577" y="909"/>
                          </a:lnTo>
                          <a:lnTo>
                            <a:pt x="544" y="960"/>
                          </a:lnTo>
                          <a:lnTo>
                            <a:pt x="553" y="994"/>
                          </a:lnTo>
                          <a:lnTo>
                            <a:pt x="517" y="1001"/>
                          </a:lnTo>
                          <a:lnTo>
                            <a:pt x="475" y="1053"/>
                          </a:lnTo>
                          <a:lnTo>
                            <a:pt x="430" y="1032"/>
                          </a:lnTo>
                          <a:lnTo>
                            <a:pt x="433" y="1080"/>
                          </a:lnTo>
                          <a:lnTo>
                            <a:pt x="376" y="1109"/>
                          </a:lnTo>
                          <a:lnTo>
                            <a:pt x="315" y="1095"/>
                          </a:lnTo>
                          <a:lnTo>
                            <a:pt x="289" y="1151"/>
                          </a:lnTo>
                          <a:lnTo>
                            <a:pt x="163" y="1205"/>
                          </a:lnTo>
                          <a:lnTo>
                            <a:pt x="172" y="1247"/>
                          </a:lnTo>
                          <a:lnTo>
                            <a:pt x="145" y="1259"/>
                          </a:lnTo>
                          <a:lnTo>
                            <a:pt x="93" y="1212"/>
                          </a:lnTo>
                          <a:lnTo>
                            <a:pt x="66" y="1233"/>
                          </a:lnTo>
                          <a:lnTo>
                            <a:pt x="24" y="1245"/>
                          </a:lnTo>
                          <a:lnTo>
                            <a:pt x="24" y="1277"/>
                          </a:lnTo>
                          <a:lnTo>
                            <a:pt x="0" y="1307"/>
                          </a:lnTo>
                          <a:lnTo>
                            <a:pt x="40" y="1349"/>
                          </a:lnTo>
                          <a:lnTo>
                            <a:pt x="93" y="1355"/>
                          </a:lnTo>
                          <a:lnTo>
                            <a:pt x="136" y="1362"/>
                          </a:lnTo>
                          <a:lnTo>
                            <a:pt x="127" y="1392"/>
                          </a:lnTo>
                          <a:lnTo>
                            <a:pt x="234" y="1398"/>
                          </a:lnTo>
                          <a:lnTo>
                            <a:pt x="210" y="1430"/>
                          </a:lnTo>
                          <a:lnTo>
                            <a:pt x="216" y="1476"/>
                          </a:lnTo>
                          <a:lnTo>
                            <a:pt x="294" y="1533"/>
                          </a:lnTo>
                          <a:lnTo>
                            <a:pt x="304" y="1557"/>
                          </a:lnTo>
                          <a:lnTo>
                            <a:pt x="322" y="1571"/>
                          </a:lnTo>
                          <a:lnTo>
                            <a:pt x="321" y="1634"/>
                          </a:lnTo>
                          <a:lnTo>
                            <a:pt x="300" y="1649"/>
                          </a:lnTo>
                          <a:lnTo>
                            <a:pt x="351" y="1677"/>
                          </a:lnTo>
                          <a:lnTo>
                            <a:pt x="388" y="1698"/>
                          </a:lnTo>
                          <a:lnTo>
                            <a:pt x="381" y="1743"/>
                          </a:lnTo>
                          <a:lnTo>
                            <a:pt x="445" y="1709"/>
                          </a:lnTo>
                          <a:lnTo>
                            <a:pt x="457" y="1745"/>
                          </a:lnTo>
                          <a:lnTo>
                            <a:pt x="528" y="1778"/>
                          </a:lnTo>
                          <a:lnTo>
                            <a:pt x="526" y="1818"/>
                          </a:lnTo>
                          <a:lnTo>
                            <a:pt x="631" y="1784"/>
                          </a:lnTo>
                          <a:lnTo>
                            <a:pt x="664" y="1724"/>
                          </a:lnTo>
                          <a:lnTo>
                            <a:pt x="706" y="1661"/>
                          </a:lnTo>
                          <a:lnTo>
                            <a:pt x="709" y="1616"/>
                          </a:lnTo>
                          <a:lnTo>
                            <a:pt x="727" y="1580"/>
                          </a:lnTo>
                          <a:lnTo>
                            <a:pt x="739" y="1721"/>
                          </a:lnTo>
                          <a:lnTo>
                            <a:pt x="775" y="1736"/>
                          </a:lnTo>
                          <a:lnTo>
                            <a:pt x="811" y="1707"/>
                          </a:lnTo>
                          <a:lnTo>
                            <a:pt x="838" y="1671"/>
                          </a:lnTo>
                          <a:lnTo>
                            <a:pt x="881" y="1638"/>
                          </a:lnTo>
                          <a:lnTo>
                            <a:pt x="910" y="1646"/>
                          </a:lnTo>
                          <a:lnTo>
                            <a:pt x="916" y="1682"/>
                          </a:lnTo>
                          <a:lnTo>
                            <a:pt x="957" y="1680"/>
                          </a:lnTo>
                          <a:lnTo>
                            <a:pt x="988" y="1668"/>
                          </a:lnTo>
                          <a:lnTo>
                            <a:pt x="961" y="1596"/>
                          </a:lnTo>
                          <a:lnTo>
                            <a:pt x="936" y="1484"/>
                          </a:lnTo>
                          <a:lnTo>
                            <a:pt x="951" y="1398"/>
                          </a:lnTo>
                          <a:lnTo>
                            <a:pt x="904" y="1335"/>
                          </a:lnTo>
                          <a:lnTo>
                            <a:pt x="948" y="1272"/>
                          </a:lnTo>
                          <a:lnTo>
                            <a:pt x="868" y="1275"/>
                          </a:lnTo>
                          <a:lnTo>
                            <a:pt x="873" y="1188"/>
                          </a:lnTo>
                          <a:lnTo>
                            <a:pt x="807" y="1146"/>
                          </a:lnTo>
                          <a:lnTo>
                            <a:pt x="813" y="1088"/>
                          </a:lnTo>
                          <a:lnTo>
                            <a:pt x="853" y="1026"/>
                          </a:lnTo>
                          <a:lnTo>
                            <a:pt x="840" y="924"/>
                          </a:lnTo>
                          <a:lnTo>
                            <a:pt x="798" y="915"/>
                          </a:lnTo>
                          <a:lnTo>
                            <a:pt x="706" y="893"/>
                          </a:lnTo>
                          <a:lnTo>
                            <a:pt x="640" y="815"/>
                          </a:lnTo>
                          <a:lnTo>
                            <a:pt x="663" y="732"/>
                          </a:lnTo>
                          <a:lnTo>
                            <a:pt x="682" y="722"/>
                          </a:lnTo>
                          <a:lnTo>
                            <a:pt x="703" y="746"/>
                          </a:lnTo>
                          <a:lnTo>
                            <a:pt x="729" y="743"/>
                          </a:lnTo>
                          <a:lnTo>
                            <a:pt x="753" y="695"/>
                          </a:lnTo>
                          <a:lnTo>
                            <a:pt x="738" y="642"/>
                          </a:lnTo>
                          <a:lnTo>
                            <a:pt x="816" y="639"/>
                          </a:lnTo>
                          <a:lnTo>
                            <a:pt x="850" y="650"/>
                          </a:lnTo>
                          <a:lnTo>
                            <a:pt x="889" y="609"/>
                          </a:lnTo>
                          <a:lnTo>
                            <a:pt x="819" y="534"/>
                          </a:lnTo>
                          <a:lnTo>
                            <a:pt x="778" y="548"/>
                          </a:lnTo>
                          <a:lnTo>
                            <a:pt x="672" y="452"/>
                          </a:lnTo>
                          <a:lnTo>
                            <a:pt x="628" y="453"/>
                          </a:lnTo>
                          <a:lnTo>
                            <a:pt x="631" y="410"/>
                          </a:lnTo>
                          <a:lnTo>
                            <a:pt x="646" y="359"/>
                          </a:lnTo>
                          <a:lnTo>
                            <a:pt x="693" y="308"/>
                          </a:lnTo>
                          <a:lnTo>
                            <a:pt x="696" y="275"/>
                          </a:lnTo>
                          <a:lnTo>
                            <a:pt x="753" y="276"/>
                          </a:lnTo>
                          <a:lnTo>
                            <a:pt x="693" y="230"/>
                          </a:lnTo>
                          <a:lnTo>
                            <a:pt x="709" y="204"/>
                          </a:lnTo>
                          <a:lnTo>
                            <a:pt x="795" y="255"/>
                          </a:lnTo>
                          <a:lnTo>
                            <a:pt x="775" y="287"/>
                          </a:lnTo>
                          <a:lnTo>
                            <a:pt x="834" y="330"/>
                          </a:lnTo>
                          <a:lnTo>
                            <a:pt x="847" y="272"/>
                          </a:lnTo>
                          <a:lnTo>
                            <a:pt x="892" y="281"/>
                          </a:lnTo>
                          <a:lnTo>
                            <a:pt x="877" y="258"/>
                          </a:lnTo>
                          <a:lnTo>
                            <a:pt x="853" y="222"/>
                          </a:lnTo>
                          <a:lnTo>
                            <a:pt x="906" y="237"/>
                          </a:lnTo>
                          <a:lnTo>
                            <a:pt x="927" y="299"/>
                          </a:lnTo>
                          <a:lnTo>
                            <a:pt x="975" y="339"/>
                          </a:lnTo>
                          <a:lnTo>
                            <a:pt x="1045" y="362"/>
                          </a:lnTo>
                          <a:lnTo>
                            <a:pt x="1068" y="311"/>
                          </a:lnTo>
                          <a:lnTo>
                            <a:pt x="1081" y="279"/>
                          </a:lnTo>
                          <a:lnTo>
                            <a:pt x="1119" y="248"/>
                          </a:lnTo>
                          <a:lnTo>
                            <a:pt x="1114" y="123"/>
                          </a:lnTo>
                          <a:close/>
                        </a:path>
                      </a:pathLst>
                    </a:custGeom>
                    <a:solidFill>
                      <a:schemeClr val="accent6"/>
                    </a:solidFill>
                    <a:ln w="9525" cap="flat" cmpd="sng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>
                        <a:latin typeface="Century Gothic" panose="020B0502020202020204" pitchFamily="34" charset="0"/>
                      </a:endParaRPr>
                    </a:p>
                  </p:txBody>
                </p:sp>
                <p:sp>
                  <p:nvSpPr>
                    <p:cNvPr id="43" name="Freeform 42"/>
                    <p:cNvSpPr>
                      <a:spLocks/>
                    </p:cNvSpPr>
                    <p:nvPr/>
                  </p:nvSpPr>
                  <p:spPr bwMode="auto">
                    <a:xfrm>
                      <a:off x="3691" y="2190"/>
                      <a:ext cx="11" cy="18"/>
                    </a:xfrm>
                    <a:custGeom>
                      <a:avLst/>
                      <a:gdLst>
                        <a:gd name="T0" fmla="*/ 22 w 30"/>
                        <a:gd name="T1" fmla="*/ 53 h 53"/>
                        <a:gd name="T2" fmla="*/ 0 w 30"/>
                        <a:gd name="T3" fmla="*/ 38 h 53"/>
                        <a:gd name="T4" fmla="*/ 30 w 30"/>
                        <a:gd name="T5" fmla="*/ 0 h 53"/>
                        <a:gd name="T6" fmla="*/ 22 w 30"/>
                        <a:gd name="T7" fmla="*/ 53 h 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30" h="53">
                          <a:moveTo>
                            <a:pt x="22" y="53"/>
                          </a:moveTo>
                          <a:lnTo>
                            <a:pt x="0" y="38"/>
                          </a:lnTo>
                          <a:lnTo>
                            <a:pt x="30" y="0"/>
                          </a:lnTo>
                          <a:lnTo>
                            <a:pt x="22" y="53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44" name="Freeform 43"/>
                    <p:cNvSpPr>
                      <a:spLocks/>
                    </p:cNvSpPr>
                    <p:nvPr/>
                  </p:nvSpPr>
                  <p:spPr bwMode="auto">
                    <a:xfrm>
                      <a:off x="3736" y="2187"/>
                      <a:ext cx="10" cy="31"/>
                    </a:xfrm>
                    <a:custGeom>
                      <a:avLst/>
                      <a:gdLst>
                        <a:gd name="T0" fmla="*/ 0 w 31"/>
                        <a:gd name="T1" fmla="*/ 88 h 88"/>
                        <a:gd name="T2" fmla="*/ 30 w 31"/>
                        <a:gd name="T3" fmla="*/ 66 h 88"/>
                        <a:gd name="T4" fmla="*/ 31 w 31"/>
                        <a:gd name="T5" fmla="*/ 4 h 88"/>
                        <a:gd name="T6" fmla="*/ 21 w 31"/>
                        <a:gd name="T7" fmla="*/ 0 h 88"/>
                        <a:gd name="T8" fmla="*/ 0 w 31"/>
                        <a:gd name="T9" fmla="*/ 88 h 8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1" h="88">
                          <a:moveTo>
                            <a:pt x="0" y="88"/>
                          </a:moveTo>
                          <a:lnTo>
                            <a:pt x="30" y="66"/>
                          </a:lnTo>
                          <a:lnTo>
                            <a:pt x="31" y="4"/>
                          </a:lnTo>
                          <a:lnTo>
                            <a:pt x="21" y="0"/>
                          </a:lnTo>
                          <a:lnTo>
                            <a:pt x="0" y="88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45" name="Freeform 44"/>
                    <p:cNvSpPr>
                      <a:spLocks/>
                    </p:cNvSpPr>
                    <p:nvPr/>
                  </p:nvSpPr>
                  <p:spPr bwMode="auto">
                    <a:xfrm>
                      <a:off x="3758" y="2172"/>
                      <a:ext cx="12" cy="26"/>
                    </a:xfrm>
                    <a:custGeom>
                      <a:avLst/>
                      <a:gdLst>
                        <a:gd name="T0" fmla="*/ 0 w 36"/>
                        <a:gd name="T1" fmla="*/ 75 h 75"/>
                        <a:gd name="T2" fmla="*/ 36 w 36"/>
                        <a:gd name="T3" fmla="*/ 72 h 75"/>
                        <a:gd name="T4" fmla="*/ 20 w 36"/>
                        <a:gd name="T5" fmla="*/ 31 h 75"/>
                        <a:gd name="T6" fmla="*/ 26 w 36"/>
                        <a:gd name="T7" fmla="*/ 0 h 75"/>
                        <a:gd name="T8" fmla="*/ 2 w 36"/>
                        <a:gd name="T9" fmla="*/ 3 h 75"/>
                        <a:gd name="T10" fmla="*/ 2 w 36"/>
                        <a:gd name="T11" fmla="*/ 45 h 75"/>
                        <a:gd name="T12" fmla="*/ 0 w 36"/>
                        <a:gd name="T13" fmla="*/ 75 h 7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6" h="75">
                          <a:moveTo>
                            <a:pt x="0" y="75"/>
                          </a:moveTo>
                          <a:lnTo>
                            <a:pt x="36" y="72"/>
                          </a:lnTo>
                          <a:lnTo>
                            <a:pt x="20" y="31"/>
                          </a:lnTo>
                          <a:lnTo>
                            <a:pt x="26" y="0"/>
                          </a:lnTo>
                          <a:lnTo>
                            <a:pt x="2" y="3"/>
                          </a:lnTo>
                          <a:lnTo>
                            <a:pt x="2" y="45"/>
                          </a:lnTo>
                          <a:lnTo>
                            <a:pt x="0" y="75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46" name="Freeform 45"/>
                    <p:cNvSpPr>
                      <a:spLocks/>
                    </p:cNvSpPr>
                    <p:nvPr/>
                  </p:nvSpPr>
                  <p:spPr bwMode="auto">
                    <a:xfrm>
                      <a:off x="3775" y="2172"/>
                      <a:ext cx="18" cy="31"/>
                    </a:xfrm>
                    <a:custGeom>
                      <a:avLst/>
                      <a:gdLst>
                        <a:gd name="T0" fmla="*/ 51 w 53"/>
                        <a:gd name="T1" fmla="*/ 90 h 90"/>
                        <a:gd name="T2" fmla="*/ 53 w 53"/>
                        <a:gd name="T3" fmla="*/ 51 h 90"/>
                        <a:gd name="T4" fmla="*/ 32 w 53"/>
                        <a:gd name="T5" fmla="*/ 46 h 90"/>
                        <a:gd name="T6" fmla="*/ 23 w 53"/>
                        <a:gd name="T7" fmla="*/ 0 h 90"/>
                        <a:gd name="T8" fmla="*/ 0 w 53"/>
                        <a:gd name="T9" fmla="*/ 9 h 90"/>
                        <a:gd name="T10" fmla="*/ 18 w 53"/>
                        <a:gd name="T11" fmla="*/ 55 h 90"/>
                        <a:gd name="T12" fmla="*/ 20 w 53"/>
                        <a:gd name="T13" fmla="*/ 87 h 90"/>
                        <a:gd name="T14" fmla="*/ 51 w 53"/>
                        <a:gd name="T15" fmla="*/ 90 h 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53" h="90">
                          <a:moveTo>
                            <a:pt x="51" y="90"/>
                          </a:moveTo>
                          <a:lnTo>
                            <a:pt x="53" y="51"/>
                          </a:lnTo>
                          <a:lnTo>
                            <a:pt x="32" y="46"/>
                          </a:lnTo>
                          <a:lnTo>
                            <a:pt x="23" y="0"/>
                          </a:lnTo>
                          <a:lnTo>
                            <a:pt x="0" y="9"/>
                          </a:lnTo>
                          <a:lnTo>
                            <a:pt x="18" y="55"/>
                          </a:lnTo>
                          <a:lnTo>
                            <a:pt x="20" y="87"/>
                          </a:lnTo>
                          <a:lnTo>
                            <a:pt x="51" y="90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47" name="Freeform 46"/>
                    <p:cNvSpPr>
                      <a:spLocks/>
                    </p:cNvSpPr>
                    <p:nvPr/>
                  </p:nvSpPr>
                  <p:spPr bwMode="auto">
                    <a:xfrm>
                      <a:off x="3764" y="2205"/>
                      <a:ext cx="16" cy="7"/>
                    </a:xfrm>
                    <a:custGeom>
                      <a:avLst/>
                      <a:gdLst>
                        <a:gd name="T0" fmla="*/ 44 w 47"/>
                        <a:gd name="T1" fmla="*/ 21 h 21"/>
                        <a:gd name="T2" fmla="*/ 47 w 47"/>
                        <a:gd name="T3" fmla="*/ 2 h 21"/>
                        <a:gd name="T4" fmla="*/ 17 w 47"/>
                        <a:gd name="T5" fmla="*/ 0 h 21"/>
                        <a:gd name="T6" fmla="*/ 0 w 47"/>
                        <a:gd name="T7" fmla="*/ 17 h 21"/>
                        <a:gd name="T8" fmla="*/ 44 w 47"/>
                        <a:gd name="T9" fmla="*/ 21 h 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47" h="21">
                          <a:moveTo>
                            <a:pt x="44" y="21"/>
                          </a:moveTo>
                          <a:lnTo>
                            <a:pt x="47" y="2"/>
                          </a:lnTo>
                          <a:lnTo>
                            <a:pt x="17" y="0"/>
                          </a:lnTo>
                          <a:lnTo>
                            <a:pt x="0" y="17"/>
                          </a:lnTo>
                          <a:lnTo>
                            <a:pt x="44" y="21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48" name="Freeform 47"/>
                    <p:cNvSpPr>
                      <a:spLocks/>
                    </p:cNvSpPr>
                    <p:nvPr/>
                  </p:nvSpPr>
                  <p:spPr bwMode="auto">
                    <a:xfrm>
                      <a:off x="3201" y="1800"/>
                      <a:ext cx="461" cy="379"/>
                    </a:xfrm>
                    <a:custGeom>
                      <a:avLst/>
                      <a:gdLst>
                        <a:gd name="T0" fmla="*/ 979 w 1342"/>
                        <a:gd name="T1" fmla="*/ 995 h 1106"/>
                        <a:gd name="T2" fmla="*/ 811 w 1342"/>
                        <a:gd name="T3" fmla="*/ 917 h 1106"/>
                        <a:gd name="T4" fmla="*/ 816 w 1342"/>
                        <a:gd name="T5" fmla="*/ 966 h 1106"/>
                        <a:gd name="T6" fmla="*/ 826 w 1342"/>
                        <a:gd name="T7" fmla="*/ 1050 h 1106"/>
                        <a:gd name="T8" fmla="*/ 762 w 1342"/>
                        <a:gd name="T9" fmla="*/ 1106 h 1106"/>
                        <a:gd name="T10" fmla="*/ 712 w 1342"/>
                        <a:gd name="T11" fmla="*/ 1079 h 1106"/>
                        <a:gd name="T12" fmla="*/ 594 w 1342"/>
                        <a:gd name="T13" fmla="*/ 1101 h 1106"/>
                        <a:gd name="T14" fmla="*/ 541 w 1342"/>
                        <a:gd name="T15" fmla="*/ 1002 h 1106"/>
                        <a:gd name="T16" fmla="*/ 463 w 1342"/>
                        <a:gd name="T17" fmla="*/ 974 h 1106"/>
                        <a:gd name="T18" fmla="*/ 312 w 1342"/>
                        <a:gd name="T19" fmla="*/ 1013 h 1106"/>
                        <a:gd name="T20" fmla="*/ 207 w 1342"/>
                        <a:gd name="T21" fmla="*/ 942 h 1106"/>
                        <a:gd name="T22" fmla="*/ 307 w 1342"/>
                        <a:gd name="T23" fmla="*/ 846 h 1106"/>
                        <a:gd name="T24" fmla="*/ 249 w 1342"/>
                        <a:gd name="T25" fmla="*/ 801 h 1106"/>
                        <a:gd name="T26" fmla="*/ 223 w 1342"/>
                        <a:gd name="T27" fmla="*/ 689 h 1106"/>
                        <a:gd name="T28" fmla="*/ 213 w 1342"/>
                        <a:gd name="T29" fmla="*/ 618 h 1106"/>
                        <a:gd name="T30" fmla="*/ 160 w 1342"/>
                        <a:gd name="T31" fmla="*/ 618 h 1106"/>
                        <a:gd name="T32" fmla="*/ 133 w 1342"/>
                        <a:gd name="T33" fmla="*/ 557 h 1106"/>
                        <a:gd name="T34" fmla="*/ 24 w 1342"/>
                        <a:gd name="T35" fmla="*/ 356 h 1106"/>
                        <a:gd name="T36" fmla="*/ 60 w 1342"/>
                        <a:gd name="T37" fmla="*/ 299 h 1106"/>
                        <a:gd name="T38" fmla="*/ 184 w 1342"/>
                        <a:gd name="T39" fmla="*/ 273 h 1106"/>
                        <a:gd name="T40" fmla="*/ 270 w 1342"/>
                        <a:gd name="T41" fmla="*/ 297 h 1106"/>
                        <a:gd name="T42" fmla="*/ 274 w 1342"/>
                        <a:gd name="T43" fmla="*/ 332 h 1106"/>
                        <a:gd name="T44" fmla="*/ 367 w 1342"/>
                        <a:gd name="T45" fmla="*/ 327 h 1106"/>
                        <a:gd name="T46" fmla="*/ 406 w 1342"/>
                        <a:gd name="T47" fmla="*/ 296 h 1106"/>
                        <a:gd name="T48" fmla="*/ 595 w 1342"/>
                        <a:gd name="T49" fmla="*/ 287 h 1106"/>
                        <a:gd name="T50" fmla="*/ 684 w 1342"/>
                        <a:gd name="T51" fmla="*/ 254 h 1106"/>
                        <a:gd name="T52" fmla="*/ 706 w 1342"/>
                        <a:gd name="T53" fmla="*/ 194 h 1106"/>
                        <a:gd name="T54" fmla="*/ 813 w 1342"/>
                        <a:gd name="T55" fmla="*/ 216 h 1106"/>
                        <a:gd name="T56" fmla="*/ 864 w 1342"/>
                        <a:gd name="T57" fmla="*/ 258 h 1106"/>
                        <a:gd name="T58" fmla="*/ 894 w 1342"/>
                        <a:gd name="T59" fmla="*/ 315 h 1106"/>
                        <a:gd name="T60" fmla="*/ 931 w 1342"/>
                        <a:gd name="T61" fmla="*/ 278 h 1106"/>
                        <a:gd name="T62" fmla="*/ 981 w 1342"/>
                        <a:gd name="T63" fmla="*/ 257 h 1106"/>
                        <a:gd name="T64" fmla="*/ 1039 w 1342"/>
                        <a:gd name="T65" fmla="*/ 261 h 1106"/>
                        <a:gd name="T66" fmla="*/ 1111 w 1342"/>
                        <a:gd name="T67" fmla="*/ 131 h 1106"/>
                        <a:gd name="T68" fmla="*/ 1161 w 1342"/>
                        <a:gd name="T69" fmla="*/ 78 h 1106"/>
                        <a:gd name="T70" fmla="*/ 1212 w 1342"/>
                        <a:gd name="T71" fmla="*/ 32 h 1106"/>
                        <a:gd name="T72" fmla="*/ 1293 w 1342"/>
                        <a:gd name="T73" fmla="*/ 32 h 1106"/>
                        <a:gd name="T74" fmla="*/ 1300 w 1342"/>
                        <a:gd name="T75" fmla="*/ 180 h 1106"/>
                        <a:gd name="T76" fmla="*/ 1293 w 1342"/>
                        <a:gd name="T77" fmla="*/ 243 h 1106"/>
                        <a:gd name="T78" fmla="*/ 1279 w 1342"/>
                        <a:gd name="T79" fmla="*/ 345 h 1106"/>
                        <a:gd name="T80" fmla="*/ 1249 w 1342"/>
                        <a:gd name="T81" fmla="*/ 384 h 1106"/>
                        <a:gd name="T82" fmla="*/ 1165 w 1342"/>
                        <a:gd name="T83" fmla="*/ 417 h 1106"/>
                        <a:gd name="T84" fmla="*/ 1110 w 1342"/>
                        <a:gd name="T85" fmla="*/ 492 h 1106"/>
                        <a:gd name="T86" fmla="*/ 1023 w 1342"/>
                        <a:gd name="T87" fmla="*/ 536 h 1106"/>
                        <a:gd name="T88" fmla="*/ 909 w 1342"/>
                        <a:gd name="T89" fmla="*/ 635 h 1106"/>
                        <a:gd name="T90" fmla="*/ 829 w 1342"/>
                        <a:gd name="T91" fmla="*/ 600 h 1106"/>
                        <a:gd name="T92" fmla="*/ 757 w 1342"/>
                        <a:gd name="T93" fmla="*/ 627 h 1106"/>
                        <a:gd name="T94" fmla="*/ 735 w 1342"/>
                        <a:gd name="T95" fmla="*/ 686 h 1106"/>
                        <a:gd name="T96" fmla="*/ 873 w 1342"/>
                        <a:gd name="T97" fmla="*/ 746 h 1106"/>
                        <a:gd name="T98" fmla="*/ 969 w 1342"/>
                        <a:gd name="T99" fmla="*/ 782 h 1106"/>
                        <a:gd name="T100" fmla="*/ 949 w 1342"/>
                        <a:gd name="T101" fmla="*/ 861 h 1106"/>
                        <a:gd name="T102" fmla="*/ 1038 w 1342"/>
                        <a:gd name="T103" fmla="*/ 941 h 1106"/>
                        <a:gd name="T104" fmla="*/ 1056 w 1342"/>
                        <a:gd name="T105" fmla="*/ 1023 h 110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</a:cxnLst>
                      <a:rect l="0" t="0" r="r" b="b"/>
                      <a:pathLst>
                        <a:path w="1342" h="1106">
                          <a:moveTo>
                            <a:pt x="1035" y="1032"/>
                          </a:moveTo>
                          <a:lnTo>
                            <a:pt x="979" y="995"/>
                          </a:lnTo>
                          <a:lnTo>
                            <a:pt x="936" y="989"/>
                          </a:lnTo>
                          <a:lnTo>
                            <a:pt x="811" y="917"/>
                          </a:lnTo>
                          <a:lnTo>
                            <a:pt x="795" y="942"/>
                          </a:lnTo>
                          <a:lnTo>
                            <a:pt x="816" y="966"/>
                          </a:lnTo>
                          <a:lnTo>
                            <a:pt x="808" y="1023"/>
                          </a:lnTo>
                          <a:lnTo>
                            <a:pt x="826" y="1050"/>
                          </a:lnTo>
                          <a:lnTo>
                            <a:pt x="798" y="1100"/>
                          </a:lnTo>
                          <a:lnTo>
                            <a:pt x="762" y="1106"/>
                          </a:lnTo>
                          <a:lnTo>
                            <a:pt x="744" y="1067"/>
                          </a:lnTo>
                          <a:lnTo>
                            <a:pt x="712" y="1079"/>
                          </a:lnTo>
                          <a:lnTo>
                            <a:pt x="610" y="1059"/>
                          </a:lnTo>
                          <a:lnTo>
                            <a:pt x="594" y="1101"/>
                          </a:lnTo>
                          <a:lnTo>
                            <a:pt x="519" y="1085"/>
                          </a:lnTo>
                          <a:lnTo>
                            <a:pt x="541" y="1002"/>
                          </a:lnTo>
                          <a:lnTo>
                            <a:pt x="520" y="966"/>
                          </a:lnTo>
                          <a:lnTo>
                            <a:pt x="463" y="974"/>
                          </a:lnTo>
                          <a:lnTo>
                            <a:pt x="367" y="975"/>
                          </a:lnTo>
                          <a:lnTo>
                            <a:pt x="312" y="1013"/>
                          </a:lnTo>
                          <a:lnTo>
                            <a:pt x="241" y="983"/>
                          </a:lnTo>
                          <a:lnTo>
                            <a:pt x="207" y="942"/>
                          </a:lnTo>
                          <a:lnTo>
                            <a:pt x="265" y="912"/>
                          </a:lnTo>
                          <a:lnTo>
                            <a:pt x="307" y="846"/>
                          </a:lnTo>
                          <a:lnTo>
                            <a:pt x="301" y="804"/>
                          </a:lnTo>
                          <a:lnTo>
                            <a:pt x="249" y="801"/>
                          </a:lnTo>
                          <a:lnTo>
                            <a:pt x="213" y="738"/>
                          </a:lnTo>
                          <a:lnTo>
                            <a:pt x="223" y="689"/>
                          </a:lnTo>
                          <a:lnTo>
                            <a:pt x="181" y="650"/>
                          </a:lnTo>
                          <a:lnTo>
                            <a:pt x="213" y="618"/>
                          </a:lnTo>
                          <a:lnTo>
                            <a:pt x="196" y="581"/>
                          </a:lnTo>
                          <a:lnTo>
                            <a:pt x="160" y="618"/>
                          </a:lnTo>
                          <a:lnTo>
                            <a:pt x="130" y="588"/>
                          </a:lnTo>
                          <a:lnTo>
                            <a:pt x="133" y="557"/>
                          </a:lnTo>
                          <a:lnTo>
                            <a:pt x="0" y="455"/>
                          </a:lnTo>
                          <a:lnTo>
                            <a:pt x="24" y="356"/>
                          </a:lnTo>
                          <a:lnTo>
                            <a:pt x="7" y="335"/>
                          </a:lnTo>
                          <a:lnTo>
                            <a:pt x="60" y="299"/>
                          </a:lnTo>
                          <a:lnTo>
                            <a:pt x="160" y="302"/>
                          </a:lnTo>
                          <a:lnTo>
                            <a:pt x="184" y="273"/>
                          </a:lnTo>
                          <a:lnTo>
                            <a:pt x="240" y="311"/>
                          </a:lnTo>
                          <a:lnTo>
                            <a:pt x="270" y="297"/>
                          </a:lnTo>
                          <a:lnTo>
                            <a:pt x="285" y="318"/>
                          </a:lnTo>
                          <a:lnTo>
                            <a:pt x="274" y="332"/>
                          </a:lnTo>
                          <a:lnTo>
                            <a:pt x="337" y="369"/>
                          </a:lnTo>
                          <a:lnTo>
                            <a:pt x="367" y="327"/>
                          </a:lnTo>
                          <a:lnTo>
                            <a:pt x="382" y="339"/>
                          </a:lnTo>
                          <a:lnTo>
                            <a:pt x="406" y="296"/>
                          </a:lnTo>
                          <a:lnTo>
                            <a:pt x="466" y="351"/>
                          </a:lnTo>
                          <a:lnTo>
                            <a:pt x="595" y="287"/>
                          </a:lnTo>
                          <a:lnTo>
                            <a:pt x="639" y="290"/>
                          </a:lnTo>
                          <a:lnTo>
                            <a:pt x="684" y="254"/>
                          </a:lnTo>
                          <a:lnTo>
                            <a:pt x="670" y="228"/>
                          </a:lnTo>
                          <a:lnTo>
                            <a:pt x="706" y="194"/>
                          </a:lnTo>
                          <a:lnTo>
                            <a:pt x="769" y="222"/>
                          </a:lnTo>
                          <a:lnTo>
                            <a:pt x="813" y="216"/>
                          </a:lnTo>
                          <a:lnTo>
                            <a:pt x="819" y="258"/>
                          </a:lnTo>
                          <a:lnTo>
                            <a:pt x="864" y="258"/>
                          </a:lnTo>
                          <a:lnTo>
                            <a:pt x="862" y="290"/>
                          </a:lnTo>
                          <a:lnTo>
                            <a:pt x="894" y="315"/>
                          </a:lnTo>
                          <a:lnTo>
                            <a:pt x="924" y="314"/>
                          </a:lnTo>
                          <a:lnTo>
                            <a:pt x="931" y="278"/>
                          </a:lnTo>
                          <a:lnTo>
                            <a:pt x="946" y="246"/>
                          </a:lnTo>
                          <a:lnTo>
                            <a:pt x="981" y="257"/>
                          </a:lnTo>
                          <a:lnTo>
                            <a:pt x="1000" y="240"/>
                          </a:lnTo>
                          <a:lnTo>
                            <a:pt x="1039" y="261"/>
                          </a:lnTo>
                          <a:lnTo>
                            <a:pt x="1092" y="228"/>
                          </a:lnTo>
                          <a:lnTo>
                            <a:pt x="1111" y="131"/>
                          </a:lnTo>
                          <a:lnTo>
                            <a:pt x="1123" y="80"/>
                          </a:lnTo>
                          <a:lnTo>
                            <a:pt x="1161" y="78"/>
                          </a:lnTo>
                          <a:lnTo>
                            <a:pt x="1159" y="32"/>
                          </a:lnTo>
                          <a:lnTo>
                            <a:pt x="1212" y="32"/>
                          </a:lnTo>
                          <a:lnTo>
                            <a:pt x="1234" y="0"/>
                          </a:lnTo>
                          <a:lnTo>
                            <a:pt x="1293" y="32"/>
                          </a:lnTo>
                          <a:lnTo>
                            <a:pt x="1321" y="135"/>
                          </a:lnTo>
                          <a:lnTo>
                            <a:pt x="1300" y="180"/>
                          </a:lnTo>
                          <a:lnTo>
                            <a:pt x="1342" y="204"/>
                          </a:lnTo>
                          <a:lnTo>
                            <a:pt x="1293" y="243"/>
                          </a:lnTo>
                          <a:lnTo>
                            <a:pt x="1311" y="294"/>
                          </a:lnTo>
                          <a:lnTo>
                            <a:pt x="1279" y="345"/>
                          </a:lnTo>
                          <a:lnTo>
                            <a:pt x="1288" y="380"/>
                          </a:lnTo>
                          <a:lnTo>
                            <a:pt x="1249" y="384"/>
                          </a:lnTo>
                          <a:lnTo>
                            <a:pt x="1210" y="441"/>
                          </a:lnTo>
                          <a:lnTo>
                            <a:pt x="1165" y="417"/>
                          </a:lnTo>
                          <a:lnTo>
                            <a:pt x="1168" y="467"/>
                          </a:lnTo>
                          <a:lnTo>
                            <a:pt x="1110" y="492"/>
                          </a:lnTo>
                          <a:lnTo>
                            <a:pt x="1050" y="480"/>
                          </a:lnTo>
                          <a:lnTo>
                            <a:pt x="1023" y="536"/>
                          </a:lnTo>
                          <a:lnTo>
                            <a:pt x="897" y="590"/>
                          </a:lnTo>
                          <a:lnTo>
                            <a:pt x="909" y="635"/>
                          </a:lnTo>
                          <a:lnTo>
                            <a:pt x="880" y="642"/>
                          </a:lnTo>
                          <a:lnTo>
                            <a:pt x="829" y="600"/>
                          </a:lnTo>
                          <a:lnTo>
                            <a:pt x="799" y="618"/>
                          </a:lnTo>
                          <a:lnTo>
                            <a:pt x="757" y="627"/>
                          </a:lnTo>
                          <a:lnTo>
                            <a:pt x="759" y="663"/>
                          </a:lnTo>
                          <a:lnTo>
                            <a:pt x="735" y="686"/>
                          </a:lnTo>
                          <a:lnTo>
                            <a:pt x="771" y="734"/>
                          </a:lnTo>
                          <a:lnTo>
                            <a:pt x="873" y="746"/>
                          </a:lnTo>
                          <a:lnTo>
                            <a:pt x="864" y="776"/>
                          </a:lnTo>
                          <a:lnTo>
                            <a:pt x="969" y="782"/>
                          </a:lnTo>
                          <a:lnTo>
                            <a:pt x="946" y="813"/>
                          </a:lnTo>
                          <a:lnTo>
                            <a:pt x="949" y="861"/>
                          </a:lnTo>
                          <a:lnTo>
                            <a:pt x="1030" y="917"/>
                          </a:lnTo>
                          <a:lnTo>
                            <a:pt x="1038" y="941"/>
                          </a:lnTo>
                          <a:lnTo>
                            <a:pt x="1059" y="956"/>
                          </a:lnTo>
                          <a:lnTo>
                            <a:pt x="1056" y="1023"/>
                          </a:lnTo>
                          <a:lnTo>
                            <a:pt x="1035" y="1032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49" name="Freeform 48"/>
                    <p:cNvSpPr>
                      <a:spLocks/>
                    </p:cNvSpPr>
                    <p:nvPr/>
                  </p:nvSpPr>
                  <p:spPr bwMode="auto">
                    <a:xfrm>
                      <a:off x="3200" y="1576"/>
                      <a:ext cx="486" cy="352"/>
                    </a:xfrm>
                    <a:custGeom>
                      <a:avLst/>
                      <a:gdLst>
                        <a:gd name="T0" fmla="*/ 0 w 1416"/>
                        <a:gd name="T1" fmla="*/ 866 h 1027"/>
                        <a:gd name="T2" fmla="*/ 96 w 1416"/>
                        <a:gd name="T3" fmla="*/ 683 h 1027"/>
                        <a:gd name="T4" fmla="*/ 148 w 1416"/>
                        <a:gd name="T5" fmla="*/ 640 h 1027"/>
                        <a:gd name="T6" fmla="*/ 342 w 1416"/>
                        <a:gd name="T7" fmla="*/ 572 h 1027"/>
                        <a:gd name="T8" fmla="*/ 190 w 1416"/>
                        <a:gd name="T9" fmla="*/ 446 h 1027"/>
                        <a:gd name="T10" fmla="*/ 225 w 1416"/>
                        <a:gd name="T11" fmla="*/ 409 h 1027"/>
                        <a:gd name="T12" fmla="*/ 138 w 1416"/>
                        <a:gd name="T13" fmla="*/ 335 h 1027"/>
                        <a:gd name="T14" fmla="*/ 289 w 1416"/>
                        <a:gd name="T15" fmla="*/ 286 h 1027"/>
                        <a:gd name="T16" fmla="*/ 168 w 1416"/>
                        <a:gd name="T17" fmla="*/ 143 h 1027"/>
                        <a:gd name="T18" fmla="*/ 177 w 1416"/>
                        <a:gd name="T19" fmla="*/ 17 h 1027"/>
                        <a:gd name="T20" fmla="*/ 273 w 1416"/>
                        <a:gd name="T21" fmla="*/ 39 h 1027"/>
                        <a:gd name="T22" fmla="*/ 354 w 1416"/>
                        <a:gd name="T23" fmla="*/ 140 h 1027"/>
                        <a:gd name="T24" fmla="*/ 481 w 1416"/>
                        <a:gd name="T25" fmla="*/ 202 h 1027"/>
                        <a:gd name="T26" fmla="*/ 637 w 1416"/>
                        <a:gd name="T27" fmla="*/ 188 h 1027"/>
                        <a:gd name="T28" fmla="*/ 669 w 1416"/>
                        <a:gd name="T29" fmla="*/ 263 h 1027"/>
                        <a:gd name="T30" fmla="*/ 763 w 1416"/>
                        <a:gd name="T31" fmla="*/ 247 h 1027"/>
                        <a:gd name="T32" fmla="*/ 958 w 1416"/>
                        <a:gd name="T33" fmla="*/ 317 h 1027"/>
                        <a:gd name="T34" fmla="*/ 1093 w 1416"/>
                        <a:gd name="T35" fmla="*/ 316 h 1027"/>
                        <a:gd name="T36" fmla="*/ 1216 w 1416"/>
                        <a:gd name="T37" fmla="*/ 322 h 1027"/>
                        <a:gd name="T38" fmla="*/ 1339 w 1416"/>
                        <a:gd name="T39" fmla="*/ 314 h 1027"/>
                        <a:gd name="T40" fmla="*/ 1416 w 1416"/>
                        <a:gd name="T41" fmla="*/ 319 h 1027"/>
                        <a:gd name="T42" fmla="*/ 1317 w 1416"/>
                        <a:gd name="T43" fmla="*/ 370 h 1027"/>
                        <a:gd name="T44" fmla="*/ 1299 w 1416"/>
                        <a:gd name="T45" fmla="*/ 409 h 1027"/>
                        <a:gd name="T46" fmla="*/ 1353 w 1416"/>
                        <a:gd name="T47" fmla="*/ 527 h 1027"/>
                        <a:gd name="T48" fmla="*/ 1314 w 1416"/>
                        <a:gd name="T49" fmla="*/ 584 h 1027"/>
                        <a:gd name="T50" fmla="*/ 1317 w 1416"/>
                        <a:gd name="T51" fmla="*/ 658 h 1027"/>
                        <a:gd name="T52" fmla="*/ 1236 w 1416"/>
                        <a:gd name="T53" fmla="*/ 655 h 1027"/>
                        <a:gd name="T54" fmla="*/ 1161 w 1416"/>
                        <a:gd name="T55" fmla="*/ 686 h 1027"/>
                        <a:gd name="T56" fmla="*/ 1126 w 1416"/>
                        <a:gd name="T57" fmla="*/ 734 h 1027"/>
                        <a:gd name="T58" fmla="*/ 1096 w 1416"/>
                        <a:gd name="T59" fmla="*/ 883 h 1027"/>
                        <a:gd name="T60" fmla="*/ 1003 w 1416"/>
                        <a:gd name="T61" fmla="*/ 896 h 1027"/>
                        <a:gd name="T62" fmla="*/ 949 w 1416"/>
                        <a:gd name="T63" fmla="*/ 901 h 1027"/>
                        <a:gd name="T64" fmla="*/ 925 w 1416"/>
                        <a:gd name="T65" fmla="*/ 970 h 1027"/>
                        <a:gd name="T66" fmla="*/ 865 w 1416"/>
                        <a:gd name="T67" fmla="*/ 944 h 1027"/>
                        <a:gd name="T68" fmla="*/ 820 w 1416"/>
                        <a:gd name="T69" fmla="*/ 916 h 1027"/>
                        <a:gd name="T70" fmla="*/ 771 w 1416"/>
                        <a:gd name="T71" fmla="*/ 878 h 1027"/>
                        <a:gd name="T72" fmla="*/ 672 w 1416"/>
                        <a:gd name="T73" fmla="*/ 884 h 1027"/>
                        <a:gd name="T74" fmla="*/ 643 w 1416"/>
                        <a:gd name="T75" fmla="*/ 946 h 1027"/>
                        <a:gd name="T76" fmla="*/ 468 w 1416"/>
                        <a:gd name="T77" fmla="*/ 1006 h 1027"/>
                        <a:gd name="T78" fmla="*/ 384 w 1416"/>
                        <a:gd name="T79" fmla="*/ 992 h 1027"/>
                        <a:gd name="T80" fmla="*/ 339 w 1416"/>
                        <a:gd name="T81" fmla="*/ 1027 h 1027"/>
                        <a:gd name="T82" fmla="*/ 288 w 1416"/>
                        <a:gd name="T83" fmla="*/ 974 h 1027"/>
                        <a:gd name="T84" fmla="*/ 243 w 1416"/>
                        <a:gd name="T85" fmla="*/ 967 h 1027"/>
                        <a:gd name="T86" fmla="*/ 163 w 1416"/>
                        <a:gd name="T87" fmla="*/ 958 h 102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</a:cxnLst>
                      <a:rect l="0" t="0" r="r" b="b"/>
                      <a:pathLst>
                        <a:path w="1416" h="1027">
                          <a:moveTo>
                            <a:pt x="64" y="955"/>
                          </a:moveTo>
                          <a:lnTo>
                            <a:pt x="0" y="866"/>
                          </a:lnTo>
                          <a:lnTo>
                            <a:pt x="0" y="740"/>
                          </a:lnTo>
                          <a:lnTo>
                            <a:pt x="96" y="683"/>
                          </a:lnTo>
                          <a:lnTo>
                            <a:pt x="139" y="664"/>
                          </a:lnTo>
                          <a:lnTo>
                            <a:pt x="148" y="640"/>
                          </a:lnTo>
                          <a:lnTo>
                            <a:pt x="216" y="580"/>
                          </a:lnTo>
                          <a:lnTo>
                            <a:pt x="342" y="572"/>
                          </a:lnTo>
                          <a:lnTo>
                            <a:pt x="342" y="526"/>
                          </a:lnTo>
                          <a:lnTo>
                            <a:pt x="190" y="446"/>
                          </a:lnTo>
                          <a:lnTo>
                            <a:pt x="190" y="413"/>
                          </a:lnTo>
                          <a:lnTo>
                            <a:pt x="225" y="409"/>
                          </a:lnTo>
                          <a:lnTo>
                            <a:pt x="222" y="370"/>
                          </a:lnTo>
                          <a:lnTo>
                            <a:pt x="138" y="335"/>
                          </a:lnTo>
                          <a:lnTo>
                            <a:pt x="199" y="286"/>
                          </a:lnTo>
                          <a:lnTo>
                            <a:pt x="289" y="286"/>
                          </a:lnTo>
                          <a:lnTo>
                            <a:pt x="208" y="206"/>
                          </a:lnTo>
                          <a:lnTo>
                            <a:pt x="168" y="143"/>
                          </a:lnTo>
                          <a:lnTo>
                            <a:pt x="106" y="26"/>
                          </a:lnTo>
                          <a:lnTo>
                            <a:pt x="177" y="17"/>
                          </a:lnTo>
                          <a:lnTo>
                            <a:pt x="196" y="0"/>
                          </a:lnTo>
                          <a:lnTo>
                            <a:pt x="273" y="39"/>
                          </a:lnTo>
                          <a:lnTo>
                            <a:pt x="343" y="45"/>
                          </a:lnTo>
                          <a:lnTo>
                            <a:pt x="354" y="140"/>
                          </a:lnTo>
                          <a:lnTo>
                            <a:pt x="445" y="166"/>
                          </a:lnTo>
                          <a:lnTo>
                            <a:pt x="481" y="202"/>
                          </a:lnTo>
                          <a:lnTo>
                            <a:pt x="565" y="229"/>
                          </a:lnTo>
                          <a:lnTo>
                            <a:pt x="637" y="188"/>
                          </a:lnTo>
                          <a:lnTo>
                            <a:pt x="666" y="212"/>
                          </a:lnTo>
                          <a:lnTo>
                            <a:pt x="669" y="263"/>
                          </a:lnTo>
                          <a:lnTo>
                            <a:pt x="732" y="278"/>
                          </a:lnTo>
                          <a:lnTo>
                            <a:pt x="763" y="247"/>
                          </a:lnTo>
                          <a:lnTo>
                            <a:pt x="888" y="274"/>
                          </a:lnTo>
                          <a:lnTo>
                            <a:pt x="958" y="317"/>
                          </a:lnTo>
                          <a:lnTo>
                            <a:pt x="1059" y="265"/>
                          </a:lnTo>
                          <a:lnTo>
                            <a:pt x="1093" y="316"/>
                          </a:lnTo>
                          <a:lnTo>
                            <a:pt x="1198" y="299"/>
                          </a:lnTo>
                          <a:lnTo>
                            <a:pt x="1216" y="322"/>
                          </a:lnTo>
                          <a:lnTo>
                            <a:pt x="1296" y="278"/>
                          </a:lnTo>
                          <a:lnTo>
                            <a:pt x="1339" y="314"/>
                          </a:lnTo>
                          <a:lnTo>
                            <a:pt x="1366" y="239"/>
                          </a:lnTo>
                          <a:lnTo>
                            <a:pt x="1416" y="319"/>
                          </a:lnTo>
                          <a:lnTo>
                            <a:pt x="1354" y="373"/>
                          </a:lnTo>
                          <a:lnTo>
                            <a:pt x="1317" y="370"/>
                          </a:lnTo>
                          <a:lnTo>
                            <a:pt x="1330" y="404"/>
                          </a:lnTo>
                          <a:lnTo>
                            <a:pt x="1299" y="409"/>
                          </a:lnTo>
                          <a:lnTo>
                            <a:pt x="1290" y="472"/>
                          </a:lnTo>
                          <a:lnTo>
                            <a:pt x="1353" y="527"/>
                          </a:lnTo>
                          <a:lnTo>
                            <a:pt x="1372" y="595"/>
                          </a:lnTo>
                          <a:lnTo>
                            <a:pt x="1314" y="584"/>
                          </a:lnTo>
                          <a:lnTo>
                            <a:pt x="1287" y="631"/>
                          </a:lnTo>
                          <a:lnTo>
                            <a:pt x="1317" y="658"/>
                          </a:lnTo>
                          <a:lnTo>
                            <a:pt x="1296" y="688"/>
                          </a:lnTo>
                          <a:lnTo>
                            <a:pt x="1236" y="655"/>
                          </a:lnTo>
                          <a:lnTo>
                            <a:pt x="1215" y="688"/>
                          </a:lnTo>
                          <a:lnTo>
                            <a:pt x="1161" y="686"/>
                          </a:lnTo>
                          <a:lnTo>
                            <a:pt x="1162" y="734"/>
                          </a:lnTo>
                          <a:lnTo>
                            <a:pt x="1126" y="734"/>
                          </a:lnTo>
                          <a:lnTo>
                            <a:pt x="1113" y="788"/>
                          </a:lnTo>
                          <a:lnTo>
                            <a:pt x="1096" y="883"/>
                          </a:lnTo>
                          <a:lnTo>
                            <a:pt x="1041" y="917"/>
                          </a:lnTo>
                          <a:lnTo>
                            <a:pt x="1003" y="896"/>
                          </a:lnTo>
                          <a:lnTo>
                            <a:pt x="984" y="911"/>
                          </a:lnTo>
                          <a:lnTo>
                            <a:pt x="949" y="901"/>
                          </a:lnTo>
                          <a:lnTo>
                            <a:pt x="934" y="935"/>
                          </a:lnTo>
                          <a:lnTo>
                            <a:pt x="925" y="970"/>
                          </a:lnTo>
                          <a:lnTo>
                            <a:pt x="897" y="970"/>
                          </a:lnTo>
                          <a:lnTo>
                            <a:pt x="865" y="944"/>
                          </a:lnTo>
                          <a:lnTo>
                            <a:pt x="868" y="914"/>
                          </a:lnTo>
                          <a:lnTo>
                            <a:pt x="820" y="916"/>
                          </a:lnTo>
                          <a:lnTo>
                            <a:pt x="816" y="871"/>
                          </a:lnTo>
                          <a:lnTo>
                            <a:pt x="771" y="878"/>
                          </a:lnTo>
                          <a:lnTo>
                            <a:pt x="708" y="851"/>
                          </a:lnTo>
                          <a:lnTo>
                            <a:pt x="672" y="884"/>
                          </a:lnTo>
                          <a:lnTo>
                            <a:pt x="687" y="911"/>
                          </a:lnTo>
                          <a:lnTo>
                            <a:pt x="643" y="946"/>
                          </a:lnTo>
                          <a:lnTo>
                            <a:pt x="595" y="944"/>
                          </a:lnTo>
                          <a:lnTo>
                            <a:pt x="468" y="1006"/>
                          </a:lnTo>
                          <a:lnTo>
                            <a:pt x="409" y="953"/>
                          </a:lnTo>
                          <a:lnTo>
                            <a:pt x="384" y="992"/>
                          </a:lnTo>
                          <a:lnTo>
                            <a:pt x="366" y="985"/>
                          </a:lnTo>
                          <a:lnTo>
                            <a:pt x="339" y="1027"/>
                          </a:lnTo>
                          <a:lnTo>
                            <a:pt x="277" y="989"/>
                          </a:lnTo>
                          <a:lnTo>
                            <a:pt x="288" y="974"/>
                          </a:lnTo>
                          <a:lnTo>
                            <a:pt x="274" y="950"/>
                          </a:lnTo>
                          <a:lnTo>
                            <a:pt x="243" y="967"/>
                          </a:lnTo>
                          <a:lnTo>
                            <a:pt x="187" y="926"/>
                          </a:lnTo>
                          <a:lnTo>
                            <a:pt x="163" y="958"/>
                          </a:lnTo>
                          <a:lnTo>
                            <a:pt x="64" y="955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50" name="Freeform 49"/>
                    <p:cNvSpPr>
                      <a:spLocks/>
                    </p:cNvSpPr>
                    <p:nvPr/>
                  </p:nvSpPr>
                  <p:spPr bwMode="auto">
                    <a:xfrm>
                      <a:off x="3007" y="2114"/>
                      <a:ext cx="628" cy="535"/>
                    </a:xfrm>
                    <a:custGeom>
                      <a:avLst/>
                      <a:gdLst>
                        <a:gd name="T0" fmla="*/ 1800 w 1827"/>
                        <a:gd name="T1" fmla="*/ 307 h 1561"/>
                        <a:gd name="T2" fmla="*/ 1635 w 1827"/>
                        <a:gd name="T3" fmla="*/ 427 h 1561"/>
                        <a:gd name="T4" fmla="*/ 1686 w 1827"/>
                        <a:gd name="T5" fmla="*/ 604 h 1561"/>
                        <a:gd name="T6" fmla="*/ 1635 w 1827"/>
                        <a:gd name="T7" fmla="*/ 679 h 1561"/>
                        <a:gd name="T8" fmla="*/ 1557 w 1827"/>
                        <a:gd name="T9" fmla="*/ 757 h 1561"/>
                        <a:gd name="T10" fmla="*/ 1278 w 1827"/>
                        <a:gd name="T11" fmla="*/ 919 h 1561"/>
                        <a:gd name="T12" fmla="*/ 1254 w 1827"/>
                        <a:gd name="T13" fmla="*/ 919 h 1561"/>
                        <a:gd name="T14" fmla="*/ 1239 w 1827"/>
                        <a:gd name="T15" fmla="*/ 865 h 1561"/>
                        <a:gd name="T16" fmla="*/ 1140 w 1827"/>
                        <a:gd name="T17" fmla="*/ 970 h 1561"/>
                        <a:gd name="T18" fmla="*/ 1173 w 1827"/>
                        <a:gd name="T19" fmla="*/ 1006 h 1561"/>
                        <a:gd name="T20" fmla="*/ 1002 w 1827"/>
                        <a:gd name="T21" fmla="*/ 1126 h 1561"/>
                        <a:gd name="T22" fmla="*/ 945 w 1827"/>
                        <a:gd name="T23" fmla="*/ 1162 h 1561"/>
                        <a:gd name="T24" fmla="*/ 744 w 1827"/>
                        <a:gd name="T25" fmla="*/ 1222 h 1561"/>
                        <a:gd name="T26" fmla="*/ 597 w 1827"/>
                        <a:gd name="T27" fmla="*/ 1180 h 1561"/>
                        <a:gd name="T28" fmla="*/ 576 w 1827"/>
                        <a:gd name="T29" fmla="*/ 1261 h 1561"/>
                        <a:gd name="T30" fmla="*/ 498 w 1827"/>
                        <a:gd name="T31" fmla="*/ 1300 h 1561"/>
                        <a:gd name="T32" fmla="*/ 510 w 1827"/>
                        <a:gd name="T33" fmla="*/ 1387 h 1561"/>
                        <a:gd name="T34" fmla="*/ 390 w 1827"/>
                        <a:gd name="T35" fmla="*/ 1420 h 1561"/>
                        <a:gd name="T36" fmla="*/ 282 w 1827"/>
                        <a:gd name="T37" fmla="*/ 1381 h 1561"/>
                        <a:gd name="T38" fmla="*/ 282 w 1827"/>
                        <a:gd name="T39" fmla="*/ 1492 h 1561"/>
                        <a:gd name="T40" fmla="*/ 222 w 1827"/>
                        <a:gd name="T41" fmla="*/ 1498 h 1561"/>
                        <a:gd name="T42" fmla="*/ 0 w 1827"/>
                        <a:gd name="T43" fmla="*/ 1561 h 1561"/>
                        <a:gd name="T44" fmla="*/ 27 w 1827"/>
                        <a:gd name="T45" fmla="*/ 1420 h 1561"/>
                        <a:gd name="T46" fmla="*/ 117 w 1827"/>
                        <a:gd name="T47" fmla="*/ 1393 h 1561"/>
                        <a:gd name="T48" fmla="*/ 210 w 1827"/>
                        <a:gd name="T49" fmla="*/ 1279 h 1561"/>
                        <a:gd name="T50" fmla="*/ 225 w 1827"/>
                        <a:gd name="T51" fmla="*/ 1084 h 1561"/>
                        <a:gd name="T52" fmla="*/ 192 w 1827"/>
                        <a:gd name="T53" fmla="*/ 997 h 1561"/>
                        <a:gd name="T54" fmla="*/ 135 w 1827"/>
                        <a:gd name="T55" fmla="*/ 883 h 1561"/>
                        <a:gd name="T56" fmla="*/ 249 w 1827"/>
                        <a:gd name="T57" fmla="*/ 865 h 1561"/>
                        <a:gd name="T58" fmla="*/ 360 w 1827"/>
                        <a:gd name="T59" fmla="*/ 898 h 1561"/>
                        <a:gd name="T60" fmla="*/ 402 w 1827"/>
                        <a:gd name="T61" fmla="*/ 868 h 1561"/>
                        <a:gd name="T62" fmla="*/ 297 w 1827"/>
                        <a:gd name="T63" fmla="*/ 829 h 1561"/>
                        <a:gd name="T64" fmla="*/ 282 w 1827"/>
                        <a:gd name="T65" fmla="*/ 670 h 1561"/>
                        <a:gd name="T66" fmla="*/ 327 w 1827"/>
                        <a:gd name="T67" fmla="*/ 595 h 1561"/>
                        <a:gd name="T68" fmla="*/ 414 w 1827"/>
                        <a:gd name="T69" fmla="*/ 475 h 1561"/>
                        <a:gd name="T70" fmla="*/ 531 w 1827"/>
                        <a:gd name="T71" fmla="*/ 478 h 1561"/>
                        <a:gd name="T72" fmla="*/ 588 w 1827"/>
                        <a:gd name="T73" fmla="*/ 358 h 1561"/>
                        <a:gd name="T74" fmla="*/ 672 w 1827"/>
                        <a:gd name="T75" fmla="*/ 250 h 1561"/>
                        <a:gd name="T76" fmla="*/ 678 w 1827"/>
                        <a:gd name="T77" fmla="*/ 127 h 1561"/>
                        <a:gd name="T78" fmla="*/ 807 w 1827"/>
                        <a:gd name="T79" fmla="*/ 67 h 1561"/>
                        <a:gd name="T80" fmla="*/ 930 w 1827"/>
                        <a:gd name="T81" fmla="*/ 58 h 1561"/>
                        <a:gd name="T82" fmla="*/ 1083 w 1827"/>
                        <a:gd name="T83" fmla="*/ 48 h 1561"/>
                        <a:gd name="T84" fmla="*/ 1083 w 1827"/>
                        <a:gd name="T85" fmla="*/ 166 h 1561"/>
                        <a:gd name="T86" fmla="*/ 1171 w 1827"/>
                        <a:gd name="T87" fmla="*/ 141 h 1561"/>
                        <a:gd name="T88" fmla="*/ 1308 w 1827"/>
                        <a:gd name="T89" fmla="*/ 151 h 1561"/>
                        <a:gd name="T90" fmla="*/ 1360 w 1827"/>
                        <a:gd name="T91" fmla="*/ 181 h 1561"/>
                        <a:gd name="T92" fmla="*/ 1371 w 1827"/>
                        <a:gd name="T93" fmla="*/ 106 h 1561"/>
                        <a:gd name="T94" fmla="*/ 1359 w 1827"/>
                        <a:gd name="T95" fmla="*/ 25 h 1561"/>
                        <a:gd name="T96" fmla="*/ 1503 w 1827"/>
                        <a:gd name="T97" fmla="*/ 72 h 1561"/>
                        <a:gd name="T98" fmla="*/ 1686 w 1827"/>
                        <a:gd name="T99" fmla="*/ 165 h 1561"/>
                        <a:gd name="T100" fmla="*/ 1743 w 1827"/>
                        <a:gd name="T101" fmla="*/ 178 h 1561"/>
                        <a:gd name="T102" fmla="*/ 1827 w 1827"/>
                        <a:gd name="T103" fmla="*/ 246 h 156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</a:cxnLst>
                      <a:rect l="0" t="0" r="r" b="b"/>
                      <a:pathLst>
                        <a:path w="1827" h="1561">
                          <a:moveTo>
                            <a:pt x="1827" y="280"/>
                          </a:moveTo>
                          <a:lnTo>
                            <a:pt x="1800" y="307"/>
                          </a:lnTo>
                          <a:lnTo>
                            <a:pt x="1740" y="307"/>
                          </a:lnTo>
                          <a:lnTo>
                            <a:pt x="1635" y="427"/>
                          </a:lnTo>
                          <a:lnTo>
                            <a:pt x="1686" y="541"/>
                          </a:lnTo>
                          <a:lnTo>
                            <a:pt x="1686" y="604"/>
                          </a:lnTo>
                          <a:lnTo>
                            <a:pt x="1617" y="664"/>
                          </a:lnTo>
                          <a:lnTo>
                            <a:pt x="1635" y="679"/>
                          </a:lnTo>
                          <a:lnTo>
                            <a:pt x="1605" y="742"/>
                          </a:lnTo>
                          <a:lnTo>
                            <a:pt x="1557" y="757"/>
                          </a:lnTo>
                          <a:lnTo>
                            <a:pt x="1500" y="853"/>
                          </a:lnTo>
                          <a:lnTo>
                            <a:pt x="1278" y="919"/>
                          </a:lnTo>
                          <a:lnTo>
                            <a:pt x="1179" y="1000"/>
                          </a:lnTo>
                          <a:lnTo>
                            <a:pt x="1254" y="919"/>
                          </a:lnTo>
                          <a:lnTo>
                            <a:pt x="1278" y="877"/>
                          </a:lnTo>
                          <a:lnTo>
                            <a:pt x="1239" y="865"/>
                          </a:lnTo>
                          <a:lnTo>
                            <a:pt x="1182" y="916"/>
                          </a:lnTo>
                          <a:lnTo>
                            <a:pt x="1140" y="970"/>
                          </a:lnTo>
                          <a:lnTo>
                            <a:pt x="1146" y="1003"/>
                          </a:lnTo>
                          <a:lnTo>
                            <a:pt x="1173" y="1006"/>
                          </a:lnTo>
                          <a:lnTo>
                            <a:pt x="1029" y="1129"/>
                          </a:lnTo>
                          <a:lnTo>
                            <a:pt x="1002" y="1126"/>
                          </a:lnTo>
                          <a:lnTo>
                            <a:pt x="975" y="1162"/>
                          </a:lnTo>
                          <a:lnTo>
                            <a:pt x="945" y="1162"/>
                          </a:lnTo>
                          <a:lnTo>
                            <a:pt x="879" y="1252"/>
                          </a:lnTo>
                          <a:lnTo>
                            <a:pt x="744" y="1222"/>
                          </a:lnTo>
                          <a:lnTo>
                            <a:pt x="693" y="1144"/>
                          </a:lnTo>
                          <a:lnTo>
                            <a:pt x="597" y="1180"/>
                          </a:lnTo>
                          <a:lnTo>
                            <a:pt x="621" y="1219"/>
                          </a:lnTo>
                          <a:lnTo>
                            <a:pt x="576" y="1261"/>
                          </a:lnTo>
                          <a:lnTo>
                            <a:pt x="534" y="1252"/>
                          </a:lnTo>
                          <a:lnTo>
                            <a:pt x="498" y="1300"/>
                          </a:lnTo>
                          <a:lnTo>
                            <a:pt x="516" y="1333"/>
                          </a:lnTo>
                          <a:lnTo>
                            <a:pt x="510" y="1387"/>
                          </a:lnTo>
                          <a:lnTo>
                            <a:pt x="444" y="1381"/>
                          </a:lnTo>
                          <a:lnTo>
                            <a:pt x="390" y="1420"/>
                          </a:lnTo>
                          <a:lnTo>
                            <a:pt x="333" y="1327"/>
                          </a:lnTo>
                          <a:lnTo>
                            <a:pt x="282" y="1381"/>
                          </a:lnTo>
                          <a:lnTo>
                            <a:pt x="306" y="1414"/>
                          </a:lnTo>
                          <a:lnTo>
                            <a:pt x="282" y="1492"/>
                          </a:lnTo>
                          <a:lnTo>
                            <a:pt x="255" y="1504"/>
                          </a:lnTo>
                          <a:lnTo>
                            <a:pt x="222" y="1498"/>
                          </a:lnTo>
                          <a:lnTo>
                            <a:pt x="81" y="1555"/>
                          </a:lnTo>
                          <a:lnTo>
                            <a:pt x="0" y="1561"/>
                          </a:lnTo>
                          <a:lnTo>
                            <a:pt x="51" y="1459"/>
                          </a:lnTo>
                          <a:lnTo>
                            <a:pt x="27" y="1420"/>
                          </a:lnTo>
                          <a:lnTo>
                            <a:pt x="66" y="1396"/>
                          </a:lnTo>
                          <a:lnTo>
                            <a:pt x="117" y="1393"/>
                          </a:lnTo>
                          <a:lnTo>
                            <a:pt x="165" y="1300"/>
                          </a:lnTo>
                          <a:lnTo>
                            <a:pt x="210" y="1279"/>
                          </a:lnTo>
                          <a:lnTo>
                            <a:pt x="261" y="1195"/>
                          </a:lnTo>
                          <a:lnTo>
                            <a:pt x="225" y="1084"/>
                          </a:lnTo>
                          <a:lnTo>
                            <a:pt x="231" y="1039"/>
                          </a:lnTo>
                          <a:lnTo>
                            <a:pt x="192" y="997"/>
                          </a:lnTo>
                          <a:lnTo>
                            <a:pt x="189" y="934"/>
                          </a:lnTo>
                          <a:lnTo>
                            <a:pt x="135" y="883"/>
                          </a:lnTo>
                          <a:lnTo>
                            <a:pt x="162" y="835"/>
                          </a:lnTo>
                          <a:lnTo>
                            <a:pt x="249" y="865"/>
                          </a:lnTo>
                          <a:lnTo>
                            <a:pt x="288" y="904"/>
                          </a:lnTo>
                          <a:lnTo>
                            <a:pt x="360" y="898"/>
                          </a:lnTo>
                          <a:lnTo>
                            <a:pt x="390" y="928"/>
                          </a:lnTo>
                          <a:lnTo>
                            <a:pt x="402" y="868"/>
                          </a:lnTo>
                          <a:lnTo>
                            <a:pt x="357" y="856"/>
                          </a:lnTo>
                          <a:lnTo>
                            <a:pt x="297" y="829"/>
                          </a:lnTo>
                          <a:lnTo>
                            <a:pt x="303" y="763"/>
                          </a:lnTo>
                          <a:lnTo>
                            <a:pt x="282" y="670"/>
                          </a:lnTo>
                          <a:lnTo>
                            <a:pt x="282" y="601"/>
                          </a:lnTo>
                          <a:lnTo>
                            <a:pt x="327" y="595"/>
                          </a:lnTo>
                          <a:lnTo>
                            <a:pt x="357" y="517"/>
                          </a:lnTo>
                          <a:lnTo>
                            <a:pt x="414" y="475"/>
                          </a:lnTo>
                          <a:lnTo>
                            <a:pt x="507" y="487"/>
                          </a:lnTo>
                          <a:lnTo>
                            <a:pt x="531" y="478"/>
                          </a:lnTo>
                          <a:lnTo>
                            <a:pt x="588" y="394"/>
                          </a:lnTo>
                          <a:lnTo>
                            <a:pt x="588" y="358"/>
                          </a:lnTo>
                          <a:lnTo>
                            <a:pt x="633" y="256"/>
                          </a:lnTo>
                          <a:lnTo>
                            <a:pt x="672" y="250"/>
                          </a:lnTo>
                          <a:lnTo>
                            <a:pt x="636" y="184"/>
                          </a:lnTo>
                          <a:lnTo>
                            <a:pt x="678" y="127"/>
                          </a:lnTo>
                          <a:lnTo>
                            <a:pt x="768" y="91"/>
                          </a:lnTo>
                          <a:lnTo>
                            <a:pt x="807" y="67"/>
                          </a:lnTo>
                          <a:lnTo>
                            <a:pt x="876" y="94"/>
                          </a:lnTo>
                          <a:lnTo>
                            <a:pt x="930" y="58"/>
                          </a:lnTo>
                          <a:lnTo>
                            <a:pt x="1030" y="57"/>
                          </a:lnTo>
                          <a:lnTo>
                            <a:pt x="1083" y="48"/>
                          </a:lnTo>
                          <a:lnTo>
                            <a:pt x="1105" y="81"/>
                          </a:lnTo>
                          <a:lnTo>
                            <a:pt x="1083" y="166"/>
                          </a:lnTo>
                          <a:lnTo>
                            <a:pt x="1158" y="184"/>
                          </a:lnTo>
                          <a:lnTo>
                            <a:pt x="1171" y="141"/>
                          </a:lnTo>
                          <a:lnTo>
                            <a:pt x="1276" y="160"/>
                          </a:lnTo>
                          <a:lnTo>
                            <a:pt x="1308" y="151"/>
                          </a:lnTo>
                          <a:lnTo>
                            <a:pt x="1324" y="190"/>
                          </a:lnTo>
                          <a:lnTo>
                            <a:pt x="1360" y="181"/>
                          </a:lnTo>
                          <a:lnTo>
                            <a:pt x="1387" y="135"/>
                          </a:lnTo>
                          <a:lnTo>
                            <a:pt x="1371" y="106"/>
                          </a:lnTo>
                          <a:lnTo>
                            <a:pt x="1378" y="49"/>
                          </a:lnTo>
                          <a:lnTo>
                            <a:pt x="1359" y="25"/>
                          </a:lnTo>
                          <a:lnTo>
                            <a:pt x="1374" y="0"/>
                          </a:lnTo>
                          <a:lnTo>
                            <a:pt x="1503" y="72"/>
                          </a:lnTo>
                          <a:lnTo>
                            <a:pt x="1542" y="78"/>
                          </a:lnTo>
                          <a:lnTo>
                            <a:pt x="1686" y="165"/>
                          </a:lnTo>
                          <a:lnTo>
                            <a:pt x="1680" y="210"/>
                          </a:lnTo>
                          <a:lnTo>
                            <a:pt x="1743" y="178"/>
                          </a:lnTo>
                          <a:lnTo>
                            <a:pt x="1755" y="213"/>
                          </a:lnTo>
                          <a:lnTo>
                            <a:pt x="1827" y="246"/>
                          </a:lnTo>
                          <a:lnTo>
                            <a:pt x="1827" y="280"/>
                          </a:lnTo>
                          <a:close/>
                        </a:path>
                      </a:pathLst>
                    </a:custGeom>
                    <a:ln>
                      <a:headEnd type="none" w="med" len="med"/>
                      <a:tailEnd type="none" w="med" len="med"/>
                    </a:ln>
                    <a:extLst/>
                  </p:spPr>
                  <p:style>
                    <a:lnRef idx="2">
                      <a:schemeClr val="accent6">
                        <a:shade val="50000"/>
                      </a:schemeClr>
                    </a:lnRef>
                    <a:fillRef idx="1">
                      <a:schemeClr val="accent6"/>
                    </a:fillRef>
                    <a:effectRef idx="0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51" name="Freeform 50"/>
                    <p:cNvSpPr>
                      <a:spLocks/>
                    </p:cNvSpPr>
                    <p:nvPr/>
                  </p:nvSpPr>
                  <p:spPr bwMode="auto">
                    <a:xfrm>
                      <a:off x="2180" y="2865"/>
                      <a:ext cx="63" cy="102"/>
                    </a:xfrm>
                    <a:custGeom>
                      <a:avLst/>
                      <a:gdLst>
                        <a:gd name="T0" fmla="*/ 0 w 183"/>
                        <a:gd name="T1" fmla="*/ 33 h 300"/>
                        <a:gd name="T2" fmla="*/ 21 w 183"/>
                        <a:gd name="T3" fmla="*/ 114 h 300"/>
                        <a:gd name="T4" fmla="*/ 54 w 183"/>
                        <a:gd name="T5" fmla="*/ 165 h 300"/>
                        <a:gd name="T6" fmla="*/ 66 w 183"/>
                        <a:gd name="T7" fmla="*/ 246 h 300"/>
                        <a:gd name="T8" fmla="*/ 126 w 183"/>
                        <a:gd name="T9" fmla="*/ 300 h 300"/>
                        <a:gd name="T10" fmla="*/ 177 w 183"/>
                        <a:gd name="T11" fmla="*/ 237 h 300"/>
                        <a:gd name="T12" fmla="*/ 183 w 183"/>
                        <a:gd name="T13" fmla="*/ 171 h 300"/>
                        <a:gd name="T14" fmla="*/ 162 w 183"/>
                        <a:gd name="T15" fmla="*/ 132 h 300"/>
                        <a:gd name="T16" fmla="*/ 165 w 183"/>
                        <a:gd name="T17" fmla="*/ 63 h 300"/>
                        <a:gd name="T18" fmla="*/ 120 w 183"/>
                        <a:gd name="T19" fmla="*/ 54 h 300"/>
                        <a:gd name="T20" fmla="*/ 102 w 183"/>
                        <a:gd name="T21" fmla="*/ 72 h 300"/>
                        <a:gd name="T22" fmla="*/ 66 w 183"/>
                        <a:gd name="T23" fmla="*/ 48 h 300"/>
                        <a:gd name="T24" fmla="*/ 30 w 183"/>
                        <a:gd name="T25" fmla="*/ 0 h 300"/>
                        <a:gd name="T26" fmla="*/ 0 w 183"/>
                        <a:gd name="T27" fmla="*/ 33 h 30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</a:cxnLst>
                      <a:rect l="0" t="0" r="r" b="b"/>
                      <a:pathLst>
                        <a:path w="183" h="300">
                          <a:moveTo>
                            <a:pt x="0" y="33"/>
                          </a:moveTo>
                          <a:lnTo>
                            <a:pt x="21" y="114"/>
                          </a:lnTo>
                          <a:lnTo>
                            <a:pt x="54" y="165"/>
                          </a:lnTo>
                          <a:lnTo>
                            <a:pt x="66" y="246"/>
                          </a:lnTo>
                          <a:lnTo>
                            <a:pt x="126" y="300"/>
                          </a:lnTo>
                          <a:lnTo>
                            <a:pt x="177" y="237"/>
                          </a:lnTo>
                          <a:lnTo>
                            <a:pt x="183" y="171"/>
                          </a:lnTo>
                          <a:lnTo>
                            <a:pt x="162" y="132"/>
                          </a:lnTo>
                          <a:lnTo>
                            <a:pt x="165" y="63"/>
                          </a:lnTo>
                          <a:lnTo>
                            <a:pt x="120" y="54"/>
                          </a:lnTo>
                          <a:lnTo>
                            <a:pt x="102" y="72"/>
                          </a:lnTo>
                          <a:lnTo>
                            <a:pt x="66" y="48"/>
                          </a:lnTo>
                          <a:lnTo>
                            <a:pt x="30" y="0"/>
                          </a:lnTo>
                          <a:lnTo>
                            <a:pt x="0" y="33"/>
                          </a:lnTo>
                          <a:close/>
                        </a:path>
                      </a:pathLst>
                    </a:custGeom>
                    <a:ln>
                      <a:headEnd type="none" w="med" len="med"/>
                      <a:tailEnd type="none" w="med" len="med"/>
                    </a:ln>
                    <a:extLst/>
                  </p:spPr>
                  <p:style>
                    <a:lnRef idx="2">
                      <a:schemeClr val="accent6">
                        <a:shade val="50000"/>
                      </a:schemeClr>
                    </a:lnRef>
                    <a:fillRef idx="1">
                      <a:schemeClr val="accent6"/>
                    </a:fillRef>
                    <a:effectRef idx="0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52" name="Freeform 51"/>
                    <p:cNvSpPr>
                      <a:spLocks/>
                    </p:cNvSpPr>
                    <p:nvPr/>
                  </p:nvSpPr>
                  <p:spPr bwMode="auto">
                    <a:xfrm>
                      <a:off x="2298" y="3216"/>
                      <a:ext cx="267" cy="510"/>
                    </a:xfrm>
                    <a:custGeom>
                      <a:avLst/>
                      <a:gdLst>
                        <a:gd name="T0" fmla="*/ 75 w 778"/>
                        <a:gd name="T1" fmla="*/ 198 h 1492"/>
                        <a:gd name="T2" fmla="*/ 204 w 778"/>
                        <a:gd name="T3" fmla="*/ 339 h 1492"/>
                        <a:gd name="T4" fmla="*/ 240 w 778"/>
                        <a:gd name="T5" fmla="*/ 426 h 1492"/>
                        <a:gd name="T6" fmla="*/ 309 w 778"/>
                        <a:gd name="T7" fmla="*/ 631 h 1492"/>
                        <a:gd name="T8" fmla="*/ 318 w 778"/>
                        <a:gd name="T9" fmla="*/ 645 h 1492"/>
                        <a:gd name="T10" fmla="*/ 423 w 778"/>
                        <a:gd name="T11" fmla="*/ 840 h 1492"/>
                        <a:gd name="T12" fmla="*/ 454 w 778"/>
                        <a:gd name="T13" fmla="*/ 946 h 1492"/>
                        <a:gd name="T14" fmla="*/ 475 w 778"/>
                        <a:gd name="T15" fmla="*/ 1030 h 1492"/>
                        <a:gd name="T16" fmla="*/ 478 w 778"/>
                        <a:gd name="T17" fmla="*/ 1095 h 1492"/>
                        <a:gd name="T18" fmla="*/ 441 w 778"/>
                        <a:gd name="T19" fmla="*/ 1129 h 1492"/>
                        <a:gd name="T20" fmla="*/ 510 w 778"/>
                        <a:gd name="T21" fmla="*/ 1281 h 1492"/>
                        <a:gd name="T22" fmla="*/ 673 w 778"/>
                        <a:gd name="T23" fmla="*/ 1492 h 1492"/>
                        <a:gd name="T24" fmla="*/ 693 w 778"/>
                        <a:gd name="T25" fmla="*/ 1351 h 1492"/>
                        <a:gd name="T26" fmla="*/ 712 w 778"/>
                        <a:gd name="T27" fmla="*/ 1275 h 1492"/>
                        <a:gd name="T28" fmla="*/ 727 w 778"/>
                        <a:gd name="T29" fmla="*/ 1210 h 1492"/>
                        <a:gd name="T30" fmla="*/ 726 w 778"/>
                        <a:gd name="T31" fmla="*/ 1054 h 1492"/>
                        <a:gd name="T32" fmla="*/ 693 w 778"/>
                        <a:gd name="T33" fmla="*/ 1042 h 1492"/>
                        <a:gd name="T34" fmla="*/ 732 w 778"/>
                        <a:gd name="T35" fmla="*/ 895 h 1492"/>
                        <a:gd name="T36" fmla="*/ 691 w 778"/>
                        <a:gd name="T37" fmla="*/ 798 h 1492"/>
                        <a:gd name="T38" fmla="*/ 597 w 778"/>
                        <a:gd name="T39" fmla="*/ 820 h 1492"/>
                        <a:gd name="T40" fmla="*/ 631 w 778"/>
                        <a:gd name="T41" fmla="*/ 673 h 1492"/>
                        <a:gd name="T42" fmla="*/ 579 w 778"/>
                        <a:gd name="T43" fmla="*/ 618 h 1492"/>
                        <a:gd name="T44" fmla="*/ 562 w 778"/>
                        <a:gd name="T45" fmla="*/ 568 h 1492"/>
                        <a:gd name="T46" fmla="*/ 553 w 778"/>
                        <a:gd name="T47" fmla="*/ 508 h 1492"/>
                        <a:gd name="T48" fmla="*/ 502 w 778"/>
                        <a:gd name="T49" fmla="*/ 532 h 1492"/>
                        <a:gd name="T50" fmla="*/ 504 w 778"/>
                        <a:gd name="T51" fmla="*/ 477 h 1492"/>
                        <a:gd name="T52" fmla="*/ 396 w 778"/>
                        <a:gd name="T53" fmla="*/ 408 h 1492"/>
                        <a:gd name="T54" fmla="*/ 477 w 778"/>
                        <a:gd name="T55" fmla="*/ 358 h 1492"/>
                        <a:gd name="T56" fmla="*/ 361 w 778"/>
                        <a:gd name="T57" fmla="*/ 259 h 1492"/>
                        <a:gd name="T58" fmla="*/ 255 w 778"/>
                        <a:gd name="T59" fmla="*/ 214 h 1492"/>
                        <a:gd name="T60" fmla="*/ 147 w 778"/>
                        <a:gd name="T61" fmla="*/ 124 h 1492"/>
                        <a:gd name="T62" fmla="*/ 72 w 778"/>
                        <a:gd name="T63" fmla="*/ 7 h 1492"/>
                        <a:gd name="T64" fmla="*/ 0 w 778"/>
                        <a:gd name="T65" fmla="*/ 0 h 149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</a:cxnLst>
                      <a:rect l="0" t="0" r="r" b="b"/>
                      <a:pathLst>
                        <a:path w="778" h="1492">
                          <a:moveTo>
                            <a:pt x="0" y="0"/>
                          </a:moveTo>
                          <a:lnTo>
                            <a:pt x="75" y="198"/>
                          </a:lnTo>
                          <a:lnTo>
                            <a:pt x="145" y="288"/>
                          </a:lnTo>
                          <a:lnTo>
                            <a:pt x="204" y="339"/>
                          </a:lnTo>
                          <a:lnTo>
                            <a:pt x="210" y="405"/>
                          </a:lnTo>
                          <a:lnTo>
                            <a:pt x="240" y="426"/>
                          </a:lnTo>
                          <a:lnTo>
                            <a:pt x="286" y="573"/>
                          </a:lnTo>
                          <a:lnTo>
                            <a:pt x="309" y="631"/>
                          </a:lnTo>
                          <a:lnTo>
                            <a:pt x="336" y="622"/>
                          </a:lnTo>
                          <a:lnTo>
                            <a:pt x="318" y="645"/>
                          </a:lnTo>
                          <a:lnTo>
                            <a:pt x="378" y="817"/>
                          </a:lnTo>
                          <a:lnTo>
                            <a:pt x="423" y="840"/>
                          </a:lnTo>
                          <a:lnTo>
                            <a:pt x="405" y="877"/>
                          </a:lnTo>
                          <a:lnTo>
                            <a:pt x="454" y="946"/>
                          </a:lnTo>
                          <a:lnTo>
                            <a:pt x="471" y="985"/>
                          </a:lnTo>
                          <a:lnTo>
                            <a:pt x="475" y="1030"/>
                          </a:lnTo>
                          <a:lnTo>
                            <a:pt x="501" y="1068"/>
                          </a:lnTo>
                          <a:lnTo>
                            <a:pt x="478" y="1095"/>
                          </a:lnTo>
                          <a:lnTo>
                            <a:pt x="436" y="1074"/>
                          </a:lnTo>
                          <a:lnTo>
                            <a:pt x="441" y="1129"/>
                          </a:lnTo>
                          <a:lnTo>
                            <a:pt x="489" y="1222"/>
                          </a:lnTo>
                          <a:lnTo>
                            <a:pt x="510" y="1281"/>
                          </a:lnTo>
                          <a:lnTo>
                            <a:pt x="589" y="1399"/>
                          </a:lnTo>
                          <a:lnTo>
                            <a:pt x="673" y="1492"/>
                          </a:lnTo>
                          <a:lnTo>
                            <a:pt x="730" y="1390"/>
                          </a:lnTo>
                          <a:lnTo>
                            <a:pt x="693" y="1351"/>
                          </a:lnTo>
                          <a:lnTo>
                            <a:pt x="715" y="1318"/>
                          </a:lnTo>
                          <a:lnTo>
                            <a:pt x="712" y="1275"/>
                          </a:lnTo>
                          <a:lnTo>
                            <a:pt x="690" y="1251"/>
                          </a:lnTo>
                          <a:lnTo>
                            <a:pt x="727" y="1210"/>
                          </a:lnTo>
                          <a:lnTo>
                            <a:pt x="778" y="1087"/>
                          </a:lnTo>
                          <a:lnTo>
                            <a:pt x="726" y="1054"/>
                          </a:lnTo>
                          <a:lnTo>
                            <a:pt x="709" y="1057"/>
                          </a:lnTo>
                          <a:lnTo>
                            <a:pt x="693" y="1042"/>
                          </a:lnTo>
                          <a:lnTo>
                            <a:pt x="720" y="1005"/>
                          </a:lnTo>
                          <a:lnTo>
                            <a:pt x="732" y="895"/>
                          </a:lnTo>
                          <a:lnTo>
                            <a:pt x="724" y="816"/>
                          </a:lnTo>
                          <a:lnTo>
                            <a:pt x="691" y="798"/>
                          </a:lnTo>
                          <a:lnTo>
                            <a:pt x="634" y="835"/>
                          </a:lnTo>
                          <a:lnTo>
                            <a:pt x="597" y="820"/>
                          </a:lnTo>
                          <a:lnTo>
                            <a:pt x="580" y="703"/>
                          </a:lnTo>
                          <a:lnTo>
                            <a:pt x="631" y="673"/>
                          </a:lnTo>
                          <a:lnTo>
                            <a:pt x="591" y="639"/>
                          </a:lnTo>
                          <a:lnTo>
                            <a:pt x="579" y="618"/>
                          </a:lnTo>
                          <a:lnTo>
                            <a:pt x="534" y="612"/>
                          </a:lnTo>
                          <a:lnTo>
                            <a:pt x="562" y="568"/>
                          </a:lnTo>
                          <a:lnTo>
                            <a:pt x="586" y="562"/>
                          </a:lnTo>
                          <a:lnTo>
                            <a:pt x="553" y="508"/>
                          </a:lnTo>
                          <a:lnTo>
                            <a:pt x="520" y="508"/>
                          </a:lnTo>
                          <a:lnTo>
                            <a:pt x="502" y="532"/>
                          </a:lnTo>
                          <a:lnTo>
                            <a:pt x="478" y="513"/>
                          </a:lnTo>
                          <a:lnTo>
                            <a:pt x="504" y="477"/>
                          </a:lnTo>
                          <a:lnTo>
                            <a:pt x="486" y="451"/>
                          </a:lnTo>
                          <a:lnTo>
                            <a:pt x="396" y="408"/>
                          </a:lnTo>
                          <a:lnTo>
                            <a:pt x="433" y="391"/>
                          </a:lnTo>
                          <a:lnTo>
                            <a:pt x="477" y="358"/>
                          </a:lnTo>
                          <a:lnTo>
                            <a:pt x="460" y="334"/>
                          </a:lnTo>
                          <a:lnTo>
                            <a:pt x="361" y="259"/>
                          </a:lnTo>
                          <a:lnTo>
                            <a:pt x="297" y="256"/>
                          </a:lnTo>
                          <a:lnTo>
                            <a:pt x="255" y="214"/>
                          </a:lnTo>
                          <a:lnTo>
                            <a:pt x="220" y="202"/>
                          </a:lnTo>
                          <a:lnTo>
                            <a:pt x="147" y="124"/>
                          </a:lnTo>
                          <a:lnTo>
                            <a:pt x="103" y="52"/>
                          </a:lnTo>
                          <a:lnTo>
                            <a:pt x="72" y="7"/>
                          </a:lnTo>
                          <a:lnTo>
                            <a:pt x="52" y="22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ln>
                      <a:headEnd type="none" w="med" len="med"/>
                      <a:tailEnd type="none" w="med" len="med"/>
                    </a:ln>
                    <a:extLst/>
                  </p:spPr>
                  <p:style>
                    <a:lnRef idx="2">
                      <a:schemeClr val="accent6">
                        <a:shade val="50000"/>
                      </a:schemeClr>
                    </a:lnRef>
                    <a:fillRef idx="1">
                      <a:schemeClr val="accent6"/>
                    </a:fillRef>
                    <a:effectRef idx="0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53" name="Freeform 52"/>
                    <p:cNvSpPr>
                      <a:spLocks/>
                    </p:cNvSpPr>
                    <p:nvPr/>
                  </p:nvSpPr>
                  <p:spPr bwMode="auto">
                    <a:xfrm>
                      <a:off x="2443" y="3562"/>
                      <a:ext cx="7" cy="16"/>
                    </a:xfrm>
                    <a:custGeom>
                      <a:avLst/>
                      <a:gdLst>
                        <a:gd name="T0" fmla="*/ 18 w 21"/>
                        <a:gd name="T1" fmla="*/ 42 h 45"/>
                        <a:gd name="T2" fmla="*/ 21 w 21"/>
                        <a:gd name="T3" fmla="*/ 9 h 45"/>
                        <a:gd name="T4" fmla="*/ 0 w 21"/>
                        <a:gd name="T5" fmla="*/ 0 h 45"/>
                        <a:gd name="T6" fmla="*/ 7 w 21"/>
                        <a:gd name="T7" fmla="*/ 45 h 45"/>
                        <a:gd name="T8" fmla="*/ 18 w 21"/>
                        <a:gd name="T9" fmla="*/ 42 h 4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1" h="45">
                          <a:moveTo>
                            <a:pt x="18" y="42"/>
                          </a:moveTo>
                          <a:lnTo>
                            <a:pt x="21" y="9"/>
                          </a:lnTo>
                          <a:lnTo>
                            <a:pt x="0" y="0"/>
                          </a:lnTo>
                          <a:lnTo>
                            <a:pt x="7" y="45"/>
                          </a:lnTo>
                          <a:lnTo>
                            <a:pt x="18" y="42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54" name="Freeform 53"/>
                    <p:cNvSpPr>
                      <a:spLocks/>
                    </p:cNvSpPr>
                    <p:nvPr/>
                  </p:nvSpPr>
                  <p:spPr bwMode="auto">
                    <a:xfrm>
                      <a:off x="2439" y="3538"/>
                      <a:ext cx="6" cy="12"/>
                    </a:xfrm>
                    <a:custGeom>
                      <a:avLst/>
                      <a:gdLst>
                        <a:gd name="T0" fmla="*/ 12 w 16"/>
                        <a:gd name="T1" fmla="*/ 36 h 36"/>
                        <a:gd name="T2" fmla="*/ 16 w 16"/>
                        <a:gd name="T3" fmla="*/ 9 h 36"/>
                        <a:gd name="T4" fmla="*/ 0 w 16"/>
                        <a:gd name="T5" fmla="*/ 0 h 36"/>
                        <a:gd name="T6" fmla="*/ 3 w 16"/>
                        <a:gd name="T7" fmla="*/ 22 h 36"/>
                        <a:gd name="T8" fmla="*/ 12 w 16"/>
                        <a:gd name="T9" fmla="*/ 36 h 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6" h="36">
                          <a:moveTo>
                            <a:pt x="12" y="36"/>
                          </a:moveTo>
                          <a:lnTo>
                            <a:pt x="16" y="9"/>
                          </a:lnTo>
                          <a:lnTo>
                            <a:pt x="0" y="0"/>
                          </a:lnTo>
                          <a:lnTo>
                            <a:pt x="3" y="22"/>
                          </a:lnTo>
                          <a:lnTo>
                            <a:pt x="12" y="36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55" name="Freeform 54"/>
                    <p:cNvSpPr>
                      <a:spLocks/>
                    </p:cNvSpPr>
                    <p:nvPr/>
                  </p:nvSpPr>
                  <p:spPr bwMode="auto">
                    <a:xfrm>
                      <a:off x="2434" y="3137"/>
                      <a:ext cx="458" cy="615"/>
                    </a:xfrm>
                    <a:custGeom>
                      <a:avLst/>
                      <a:gdLst>
                        <a:gd name="T0" fmla="*/ 342 w 1332"/>
                        <a:gd name="T1" fmla="*/ 1775 h 1796"/>
                        <a:gd name="T2" fmla="*/ 430 w 1332"/>
                        <a:gd name="T3" fmla="*/ 1796 h 1796"/>
                        <a:gd name="T4" fmla="*/ 540 w 1332"/>
                        <a:gd name="T5" fmla="*/ 1727 h 1796"/>
                        <a:gd name="T6" fmla="*/ 619 w 1332"/>
                        <a:gd name="T7" fmla="*/ 1638 h 1796"/>
                        <a:gd name="T8" fmla="*/ 640 w 1332"/>
                        <a:gd name="T9" fmla="*/ 1557 h 1796"/>
                        <a:gd name="T10" fmla="*/ 639 w 1332"/>
                        <a:gd name="T11" fmla="*/ 1494 h 1796"/>
                        <a:gd name="T12" fmla="*/ 769 w 1332"/>
                        <a:gd name="T13" fmla="*/ 1448 h 1796"/>
                        <a:gd name="T14" fmla="*/ 853 w 1332"/>
                        <a:gd name="T15" fmla="*/ 1430 h 1796"/>
                        <a:gd name="T16" fmla="*/ 951 w 1332"/>
                        <a:gd name="T17" fmla="*/ 1394 h 1796"/>
                        <a:gd name="T18" fmla="*/ 1005 w 1332"/>
                        <a:gd name="T19" fmla="*/ 1379 h 1796"/>
                        <a:gd name="T20" fmla="*/ 966 w 1332"/>
                        <a:gd name="T21" fmla="*/ 1392 h 1796"/>
                        <a:gd name="T22" fmla="*/ 871 w 1332"/>
                        <a:gd name="T23" fmla="*/ 1341 h 1796"/>
                        <a:gd name="T24" fmla="*/ 946 w 1332"/>
                        <a:gd name="T25" fmla="*/ 1215 h 1796"/>
                        <a:gd name="T26" fmla="*/ 997 w 1332"/>
                        <a:gd name="T27" fmla="*/ 1151 h 1796"/>
                        <a:gd name="T28" fmla="*/ 1011 w 1332"/>
                        <a:gd name="T29" fmla="*/ 1064 h 1796"/>
                        <a:gd name="T30" fmla="*/ 1182 w 1332"/>
                        <a:gd name="T31" fmla="*/ 1077 h 1796"/>
                        <a:gd name="T32" fmla="*/ 1185 w 1332"/>
                        <a:gd name="T33" fmla="*/ 900 h 1796"/>
                        <a:gd name="T34" fmla="*/ 1183 w 1332"/>
                        <a:gd name="T35" fmla="*/ 702 h 1796"/>
                        <a:gd name="T36" fmla="*/ 1155 w 1332"/>
                        <a:gd name="T37" fmla="*/ 648 h 1796"/>
                        <a:gd name="T38" fmla="*/ 1165 w 1332"/>
                        <a:gd name="T39" fmla="*/ 564 h 1796"/>
                        <a:gd name="T40" fmla="*/ 1207 w 1332"/>
                        <a:gd name="T41" fmla="*/ 471 h 1796"/>
                        <a:gd name="T42" fmla="*/ 1272 w 1332"/>
                        <a:gd name="T43" fmla="*/ 362 h 1796"/>
                        <a:gd name="T44" fmla="*/ 1236 w 1332"/>
                        <a:gd name="T45" fmla="*/ 306 h 1796"/>
                        <a:gd name="T46" fmla="*/ 1317 w 1332"/>
                        <a:gd name="T47" fmla="*/ 270 h 1796"/>
                        <a:gd name="T48" fmla="*/ 1332 w 1332"/>
                        <a:gd name="T49" fmla="*/ 96 h 1796"/>
                        <a:gd name="T50" fmla="*/ 1251 w 1332"/>
                        <a:gd name="T51" fmla="*/ 0 h 1796"/>
                        <a:gd name="T52" fmla="*/ 1161 w 1332"/>
                        <a:gd name="T53" fmla="*/ 81 h 1796"/>
                        <a:gd name="T54" fmla="*/ 1054 w 1332"/>
                        <a:gd name="T55" fmla="*/ 96 h 1796"/>
                        <a:gd name="T56" fmla="*/ 985 w 1332"/>
                        <a:gd name="T57" fmla="*/ 116 h 1796"/>
                        <a:gd name="T58" fmla="*/ 888 w 1332"/>
                        <a:gd name="T59" fmla="*/ 144 h 1796"/>
                        <a:gd name="T60" fmla="*/ 795 w 1332"/>
                        <a:gd name="T61" fmla="*/ 174 h 1796"/>
                        <a:gd name="T62" fmla="*/ 717 w 1332"/>
                        <a:gd name="T63" fmla="*/ 291 h 1796"/>
                        <a:gd name="T64" fmla="*/ 589 w 1332"/>
                        <a:gd name="T65" fmla="*/ 218 h 1796"/>
                        <a:gd name="T66" fmla="*/ 508 w 1332"/>
                        <a:gd name="T67" fmla="*/ 269 h 1796"/>
                        <a:gd name="T68" fmla="*/ 450 w 1332"/>
                        <a:gd name="T69" fmla="*/ 287 h 1796"/>
                        <a:gd name="T70" fmla="*/ 465 w 1332"/>
                        <a:gd name="T71" fmla="*/ 368 h 1796"/>
                        <a:gd name="T72" fmla="*/ 508 w 1332"/>
                        <a:gd name="T73" fmla="*/ 426 h 1796"/>
                        <a:gd name="T74" fmla="*/ 472 w 1332"/>
                        <a:gd name="T75" fmla="*/ 501 h 1796"/>
                        <a:gd name="T76" fmla="*/ 354 w 1332"/>
                        <a:gd name="T77" fmla="*/ 549 h 1796"/>
                        <a:gd name="T78" fmla="*/ 306 w 1332"/>
                        <a:gd name="T79" fmla="*/ 578 h 1796"/>
                        <a:gd name="T80" fmla="*/ 210 w 1332"/>
                        <a:gd name="T81" fmla="*/ 569 h 1796"/>
                        <a:gd name="T82" fmla="*/ 126 w 1332"/>
                        <a:gd name="T83" fmla="*/ 612 h 1796"/>
                        <a:gd name="T84" fmla="*/ 78 w 1332"/>
                        <a:gd name="T85" fmla="*/ 587 h 1796"/>
                        <a:gd name="T86" fmla="*/ 0 w 1332"/>
                        <a:gd name="T87" fmla="*/ 638 h 1796"/>
                        <a:gd name="T88" fmla="*/ 105 w 1332"/>
                        <a:gd name="T89" fmla="*/ 705 h 1796"/>
                        <a:gd name="T90" fmla="*/ 105 w 1332"/>
                        <a:gd name="T91" fmla="*/ 762 h 1796"/>
                        <a:gd name="T92" fmla="*/ 154 w 1332"/>
                        <a:gd name="T93" fmla="*/ 740 h 1796"/>
                        <a:gd name="T94" fmla="*/ 163 w 1332"/>
                        <a:gd name="T95" fmla="*/ 798 h 1796"/>
                        <a:gd name="T96" fmla="*/ 180 w 1332"/>
                        <a:gd name="T97" fmla="*/ 848 h 1796"/>
                        <a:gd name="T98" fmla="*/ 234 w 1332"/>
                        <a:gd name="T99" fmla="*/ 903 h 1796"/>
                        <a:gd name="T100" fmla="*/ 198 w 1332"/>
                        <a:gd name="T101" fmla="*/ 1050 h 1796"/>
                        <a:gd name="T102" fmla="*/ 294 w 1332"/>
                        <a:gd name="T103" fmla="*/ 1029 h 1796"/>
                        <a:gd name="T104" fmla="*/ 334 w 1332"/>
                        <a:gd name="T105" fmla="*/ 1125 h 1796"/>
                        <a:gd name="T106" fmla="*/ 295 w 1332"/>
                        <a:gd name="T107" fmla="*/ 1271 h 1796"/>
                        <a:gd name="T108" fmla="*/ 328 w 1332"/>
                        <a:gd name="T109" fmla="*/ 1283 h 1796"/>
                        <a:gd name="T110" fmla="*/ 331 w 1332"/>
                        <a:gd name="T111" fmla="*/ 1440 h 1796"/>
                        <a:gd name="T112" fmla="*/ 315 w 1332"/>
                        <a:gd name="T113" fmla="*/ 1505 h 1796"/>
                        <a:gd name="T114" fmla="*/ 295 w 1332"/>
                        <a:gd name="T115" fmla="*/ 1581 h 1796"/>
                        <a:gd name="T116" fmla="*/ 276 w 1332"/>
                        <a:gd name="T117" fmla="*/ 1722 h 179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</a:cxnLst>
                      <a:rect l="0" t="0" r="r" b="b"/>
                      <a:pathLst>
                        <a:path w="1332" h="1796">
                          <a:moveTo>
                            <a:pt x="276" y="1722"/>
                          </a:moveTo>
                          <a:lnTo>
                            <a:pt x="342" y="1775"/>
                          </a:lnTo>
                          <a:lnTo>
                            <a:pt x="364" y="1790"/>
                          </a:lnTo>
                          <a:lnTo>
                            <a:pt x="430" y="1796"/>
                          </a:lnTo>
                          <a:lnTo>
                            <a:pt x="469" y="1758"/>
                          </a:lnTo>
                          <a:lnTo>
                            <a:pt x="540" y="1727"/>
                          </a:lnTo>
                          <a:lnTo>
                            <a:pt x="597" y="1686"/>
                          </a:lnTo>
                          <a:lnTo>
                            <a:pt x="619" y="1638"/>
                          </a:lnTo>
                          <a:lnTo>
                            <a:pt x="621" y="1575"/>
                          </a:lnTo>
                          <a:lnTo>
                            <a:pt x="640" y="1557"/>
                          </a:lnTo>
                          <a:lnTo>
                            <a:pt x="627" y="1547"/>
                          </a:lnTo>
                          <a:lnTo>
                            <a:pt x="639" y="1494"/>
                          </a:lnTo>
                          <a:lnTo>
                            <a:pt x="723" y="1443"/>
                          </a:lnTo>
                          <a:lnTo>
                            <a:pt x="769" y="1448"/>
                          </a:lnTo>
                          <a:lnTo>
                            <a:pt x="816" y="1413"/>
                          </a:lnTo>
                          <a:lnTo>
                            <a:pt x="853" y="1430"/>
                          </a:lnTo>
                          <a:lnTo>
                            <a:pt x="906" y="1385"/>
                          </a:lnTo>
                          <a:lnTo>
                            <a:pt x="951" y="1394"/>
                          </a:lnTo>
                          <a:lnTo>
                            <a:pt x="987" y="1409"/>
                          </a:lnTo>
                          <a:lnTo>
                            <a:pt x="1005" y="1379"/>
                          </a:lnTo>
                          <a:lnTo>
                            <a:pt x="982" y="1377"/>
                          </a:lnTo>
                          <a:lnTo>
                            <a:pt x="966" y="1392"/>
                          </a:lnTo>
                          <a:lnTo>
                            <a:pt x="903" y="1377"/>
                          </a:lnTo>
                          <a:lnTo>
                            <a:pt x="871" y="1341"/>
                          </a:lnTo>
                          <a:lnTo>
                            <a:pt x="885" y="1290"/>
                          </a:lnTo>
                          <a:lnTo>
                            <a:pt x="946" y="1215"/>
                          </a:lnTo>
                          <a:lnTo>
                            <a:pt x="937" y="1194"/>
                          </a:lnTo>
                          <a:lnTo>
                            <a:pt x="997" y="1151"/>
                          </a:lnTo>
                          <a:lnTo>
                            <a:pt x="972" y="1122"/>
                          </a:lnTo>
                          <a:lnTo>
                            <a:pt x="1011" y="1064"/>
                          </a:lnTo>
                          <a:lnTo>
                            <a:pt x="1084" y="1058"/>
                          </a:lnTo>
                          <a:lnTo>
                            <a:pt x="1182" y="1077"/>
                          </a:lnTo>
                          <a:lnTo>
                            <a:pt x="1194" y="1050"/>
                          </a:lnTo>
                          <a:lnTo>
                            <a:pt x="1185" y="900"/>
                          </a:lnTo>
                          <a:lnTo>
                            <a:pt x="1197" y="788"/>
                          </a:lnTo>
                          <a:lnTo>
                            <a:pt x="1183" y="702"/>
                          </a:lnTo>
                          <a:lnTo>
                            <a:pt x="1156" y="695"/>
                          </a:lnTo>
                          <a:lnTo>
                            <a:pt x="1155" y="648"/>
                          </a:lnTo>
                          <a:lnTo>
                            <a:pt x="1168" y="593"/>
                          </a:lnTo>
                          <a:lnTo>
                            <a:pt x="1165" y="564"/>
                          </a:lnTo>
                          <a:lnTo>
                            <a:pt x="1165" y="512"/>
                          </a:lnTo>
                          <a:lnTo>
                            <a:pt x="1207" y="471"/>
                          </a:lnTo>
                          <a:lnTo>
                            <a:pt x="1251" y="407"/>
                          </a:lnTo>
                          <a:lnTo>
                            <a:pt x="1272" y="362"/>
                          </a:lnTo>
                          <a:lnTo>
                            <a:pt x="1216" y="309"/>
                          </a:lnTo>
                          <a:lnTo>
                            <a:pt x="1236" y="306"/>
                          </a:lnTo>
                          <a:lnTo>
                            <a:pt x="1293" y="342"/>
                          </a:lnTo>
                          <a:lnTo>
                            <a:pt x="1317" y="270"/>
                          </a:lnTo>
                          <a:lnTo>
                            <a:pt x="1320" y="186"/>
                          </a:lnTo>
                          <a:lnTo>
                            <a:pt x="1332" y="96"/>
                          </a:lnTo>
                          <a:lnTo>
                            <a:pt x="1327" y="33"/>
                          </a:lnTo>
                          <a:lnTo>
                            <a:pt x="1251" y="0"/>
                          </a:lnTo>
                          <a:lnTo>
                            <a:pt x="1203" y="63"/>
                          </a:lnTo>
                          <a:lnTo>
                            <a:pt x="1161" y="81"/>
                          </a:lnTo>
                          <a:lnTo>
                            <a:pt x="1062" y="62"/>
                          </a:lnTo>
                          <a:lnTo>
                            <a:pt x="1054" y="96"/>
                          </a:lnTo>
                          <a:lnTo>
                            <a:pt x="1030" y="122"/>
                          </a:lnTo>
                          <a:lnTo>
                            <a:pt x="985" y="116"/>
                          </a:lnTo>
                          <a:lnTo>
                            <a:pt x="976" y="156"/>
                          </a:lnTo>
                          <a:lnTo>
                            <a:pt x="888" y="144"/>
                          </a:lnTo>
                          <a:lnTo>
                            <a:pt x="829" y="126"/>
                          </a:lnTo>
                          <a:lnTo>
                            <a:pt x="795" y="174"/>
                          </a:lnTo>
                          <a:lnTo>
                            <a:pt x="781" y="227"/>
                          </a:lnTo>
                          <a:lnTo>
                            <a:pt x="717" y="291"/>
                          </a:lnTo>
                          <a:lnTo>
                            <a:pt x="640" y="207"/>
                          </a:lnTo>
                          <a:lnTo>
                            <a:pt x="589" y="218"/>
                          </a:lnTo>
                          <a:lnTo>
                            <a:pt x="528" y="204"/>
                          </a:lnTo>
                          <a:lnTo>
                            <a:pt x="508" y="269"/>
                          </a:lnTo>
                          <a:lnTo>
                            <a:pt x="469" y="263"/>
                          </a:lnTo>
                          <a:lnTo>
                            <a:pt x="450" y="287"/>
                          </a:lnTo>
                          <a:lnTo>
                            <a:pt x="475" y="329"/>
                          </a:lnTo>
                          <a:lnTo>
                            <a:pt x="465" y="368"/>
                          </a:lnTo>
                          <a:lnTo>
                            <a:pt x="423" y="420"/>
                          </a:lnTo>
                          <a:lnTo>
                            <a:pt x="508" y="426"/>
                          </a:lnTo>
                          <a:lnTo>
                            <a:pt x="516" y="455"/>
                          </a:lnTo>
                          <a:lnTo>
                            <a:pt x="472" y="501"/>
                          </a:lnTo>
                          <a:lnTo>
                            <a:pt x="370" y="567"/>
                          </a:lnTo>
                          <a:lnTo>
                            <a:pt x="354" y="549"/>
                          </a:lnTo>
                          <a:lnTo>
                            <a:pt x="319" y="549"/>
                          </a:lnTo>
                          <a:lnTo>
                            <a:pt x="306" y="578"/>
                          </a:lnTo>
                          <a:lnTo>
                            <a:pt x="244" y="552"/>
                          </a:lnTo>
                          <a:lnTo>
                            <a:pt x="210" y="569"/>
                          </a:lnTo>
                          <a:lnTo>
                            <a:pt x="220" y="617"/>
                          </a:lnTo>
                          <a:lnTo>
                            <a:pt x="126" y="612"/>
                          </a:lnTo>
                          <a:lnTo>
                            <a:pt x="105" y="579"/>
                          </a:lnTo>
                          <a:lnTo>
                            <a:pt x="78" y="587"/>
                          </a:lnTo>
                          <a:lnTo>
                            <a:pt x="36" y="618"/>
                          </a:lnTo>
                          <a:lnTo>
                            <a:pt x="0" y="638"/>
                          </a:lnTo>
                          <a:lnTo>
                            <a:pt x="90" y="681"/>
                          </a:lnTo>
                          <a:lnTo>
                            <a:pt x="105" y="705"/>
                          </a:lnTo>
                          <a:lnTo>
                            <a:pt x="81" y="743"/>
                          </a:lnTo>
                          <a:lnTo>
                            <a:pt x="105" y="762"/>
                          </a:lnTo>
                          <a:lnTo>
                            <a:pt x="124" y="738"/>
                          </a:lnTo>
                          <a:lnTo>
                            <a:pt x="154" y="740"/>
                          </a:lnTo>
                          <a:lnTo>
                            <a:pt x="187" y="791"/>
                          </a:lnTo>
                          <a:lnTo>
                            <a:pt x="163" y="798"/>
                          </a:lnTo>
                          <a:lnTo>
                            <a:pt x="136" y="843"/>
                          </a:lnTo>
                          <a:lnTo>
                            <a:pt x="180" y="848"/>
                          </a:lnTo>
                          <a:lnTo>
                            <a:pt x="195" y="867"/>
                          </a:lnTo>
                          <a:lnTo>
                            <a:pt x="234" y="903"/>
                          </a:lnTo>
                          <a:lnTo>
                            <a:pt x="183" y="933"/>
                          </a:lnTo>
                          <a:lnTo>
                            <a:pt x="198" y="1050"/>
                          </a:lnTo>
                          <a:lnTo>
                            <a:pt x="238" y="1064"/>
                          </a:lnTo>
                          <a:lnTo>
                            <a:pt x="294" y="1029"/>
                          </a:lnTo>
                          <a:lnTo>
                            <a:pt x="328" y="1047"/>
                          </a:lnTo>
                          <a:lnTo>
                            <a:pt x="334" y="1125"/>
                          </a:lnTo>
                          <a:lnTo>
                            <a:pt x="322" y="1235"/>
                          </a:lnTo>
                          <a:lnTo>
                            <a:pt x="295" y="1271"/>
                          </a:lnTo>
                          <a:lnTo>
                            <a:pt x="312" y="1287"/>
                          </a:lnTo>
                          <a:lnTo>
                            <a:pt x="328" y="1283"/>
                          </a:lnTo>
                          <a:lnTo>
                            <a:pt x="382" y="1319"/>
                          </a:lnTo>
                          <a:lnTo>
                            <a:pt x="331" y="1440"/>
                          </a:lnTo>
                          <a:lnTo>
                            <a:pt x="294" y="1481"/>
                          </a:lnTo>
                          <a:lnTo>
                            <a:pt x="315" y="1505"/>
                          </a:lnTo>
                          <a:lnTo>
                            <a:pt x="319" y="1548"/>
                          </a:lnTo>
                          <a:lnTo>
                            <a:pt x="295" y="1581"/>
                          </a:lnTo>
                          <a:lnTo>
                            <a:pt x="333" y="1620"/>
                          </a:lnTo>
                          <a:lnTo>
                            <a:pt x="276" y="1722"/>
                          </a:lnTo>
                          <a:close/>
                        </a:path>
                      </a:pathLst>
                    </a:custGeom>
                    <a:ln>
                      <a:headEnd type="none" w="med" len="med"/>
                      <a:tailEnd type="none" w="med" len="med"/>
                    </a:ln>
                    <a:extLst/>
                  </p:spPr>
                  <p:style>
                    <a:lnRef idx="2">
                      <a:schemeClr val="accent6">
                        <a:shade val="50000"/>
                      </a:schemeClr>
                    </a:lnRef>
                    <a:fillRef idx="1">
                      <a:schemeClr val="accent6"/>
                    </a:fillRef>
                    <a:effectRef idx="0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56" name="Freeform 55"/>
                    <p:cNvSpPr>
                      <a:spLocks/>
                    </p:cNvSpPr>
                    <p:nvPr/>
                  </p:nvSpPr>
                  <p:spPr bwMode="auto">
                    <a:xfrm>
                      <a:off x="2174" y="498"/>
                      <a:ext cx="720" cy="542"/>
                    </a:xfrm>
                    <a:custGeom>
                      <a:avLst/>
                      <a:gdLst>
                        <a:gd name="T0" fmla="*/ 28 w 2096"/>
                        <a:gd name="T1" fmla="*/ 244 h 1584"/>
                        <a:gd name="T2" fmla="*/ 376 w 2096"/>
                        <a:gd name="T3" fmla="*/ 112 h 1584"/>
                        <a:gd name="T4" fmla="*/ 432 w 2096"/>
                        <a:gd name="T5" fmla="*/ 68 h 1584"/>
                        <a:gd name="T6" fmla="*/ 652 w 2096"/>
                        <a:gd name="T7" fmla="*/ 36 h 1584"/>
                        <a:gd name="T8" fmla="*/ 776 w 2096"/>
                        <a:gd name="T9" fmla="*/ 32 h 1584"/>
                        <a:gd name="T10" fmla="*/ 888 w 2096"/>
                        <a:gd name="T11" fmla="*/ 176 h 1584"/>
                        <a:gd name="T12" fmla="*/ 1120 w 2096"/>
                        <a:gd name="T13" fmla="*/ 324 h 1584"/>
                        <a:gd name="T14" fmla="*/ 1132 w 2096"/>
                        <a:gd name="T15" fmla="*/ 420 h 1584"/>
                        <a:gd name="T16" fmla="*/ 1308 w 2096"/>
                        <a:gd name="T17" fmla="*/ 464 h 1584"/>
                        <a:gd name="T18" fmla="*/ 1288 w 2096"/>
                        <a:gd name="T19" fmla="*/ 544 h 1584"/>
                        <a:gd name="T20" fmla="*/ 1464 w 2096"/>
                        <a:gd name="T21" fmla="*/ 512 h 1584"/>
                        <a:gd name="T22" fmla="*/ 1568 w 2096"/>
                        <a:gd name="T23" fmla="*/ 456 h 1584"/>
                        <a:gd name="T24" fmla="*/ 1796 w 2096"/>
                        <a:gd name="T25" fmla="*/ 396 h 1584"/>
                        <a:gd name="T26" fmla="*/ 1968 w 2096"/>
                        <a:gd name="T27" fmla="*/ 468 h 1584"/>
                        <a:gd name="T28" fmla="*/ 2096 w 2096"/>
                        <a:gd name="T29" fmla="*/ 548 h 1584"/>
                        <a:gd name="T30" fmla="*/ 1956 w 2096"/>
                        <a:gd name="T31" fmla="*/ 812 h 1584"/>
                        <a:gd name="T32" fmla="*/ 1888 w 2096"/>
                        <a:gd name="T33" fmla="*/ 876 h 1584"/>
                        <a:gd name="T34" fmla="*/ 1880 w 2096"/>
                        <a:gd name="T35" fmla="*/ 976 h 1584"/>
                        <a:gd name="T36" fmla="*/ 1680 w 2096"/>
                        <a:gd name="T37" fmla="*/ 1032 h 1584"/>
                        <a:gd name="T38" fmla="*/ 1696 w 2096"/>
                        <a:gd name="T39" fmla="*/ 1172 h 1584"/>
                        <a:gd name="T40" fmla="*/ 1780 w 2096"/>
                        <a:gd name="T41" fmla="*/ 1264 h 1584"/>
                        <a:gd name="T42" fmla="*/ 1816 w 2096"/>
                        <a:gd name="T43" fmla="*/ 1372 h 1584"/>
                        <a:gd name="T44" fmla="*/ 1832 w 2096"/>
                        <a:gd name="T45" fmla="*/ 1524 h 1584"/>
                        <a:gd name="T46" fmla="*/ 1728 w 2096"/>
                        <a:gd name="T47" fmla="*/ 1584 h 1584"/>
                        <a:gd name="T48" fmla="*/ 1656 w 2096"/>
                        <a:gd name="T49" fmla="*/ 1472 h 1584"/>
                        <a:gd name="T50" fmla="*/ 1548 w 2096"/>
                        <a:gd name="T51" fmla="*/ 1544 h 1584"/>
                        <a:gd name="T52" fmla="*/ 1536 w 2096"/>
                        <a:gd name="T53" fmla="*/ 1444 h 1584"/>
                        <a:gd name="T54" fmla="*/ 1440 w 2096"/>
                        <a:gd name="T55" fmla="*/ 1488 h 1584"/>
                        <a:gd name="T56" fmla="*/ 1260 w 2096"/>
                        <a:gd name="T57" fmla="*/ 1420 h 1584"/>
                        <a:gd name="T58" fmla="*/ 1004 w 2096"/>
                        <a:gd name="T59" fmla="*/ 1308 h 1584"/>
                        <a:gd name="T60" fmla="*/ 812 w 2096"/>
                        <a:gd name="T61" fmla="*/ 1392 h 1584"/>
                        <a:gd name="T62" fmla="*/ 848 w 2096"/>
                        <a:gd name="T63" fmla="*/ 1512 h 1584"/>
                        <a:gd name="T64" fmla="*/ 616 w 2096"/>
                        <a:gd name="T65" fmla="*/ 1516 h 1584"/>
                        <a:gd name="T66" fmla="*/ 536 w 2096"/>
                        <a:gd name="T67" fmla="*/ 1412 h 1584"/>
                        <a:gd name="T68" fmla="*/ 352 w 2096"/>
                        <a:gd name="T69" fmla="*/ 1348 h 1584"/>
                        <a:gd name="T70" fmla="*/ 240 w 2096"/>
                        <a:gd name="T71" fmla="*/ 1028 h 1584"/>
                        <a:gd name="T72" fmla="*/ 236 w 2096"/>
                        <a:gd name="T73" fmla="*/ 808 h 1584"/>
                        <a:gd name="T74" fmla="*/ 368 w 2096"/>
                        <a:gd name="T75" fmla="*/ 756 h 1584"/>
                        <a:gd name="T76" fmla="*/ 308 w 2096"/>
                        <a:gd name="T77" fmla="*/ 596 h 1584"/>
                        <a:gd name="T78" fmla="*/ 336 w 2096"/>
                        <a:gd name="T79" fmla="*/ 516 h 1584"/>
                        <a:gd name="T80" fmla="*/ 176 w 2096"/>
                        <a:gd name="T81" fmla="*/ 444 h 1584"/>
                        <a:gd name="T82" fmla="*/ 76 w 2096"/>
                        <a:gd name="T83" fmla="*/ 372 h 1584"/>
                        <a:gd name="T84" fmla="*/ 0 w 2096"/>
                        <a:gd name="T85" fmla="*/ 372 h 15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</a:cxnLst>
                      <a:rect l="0" t="0" r="r" b="b"/>
                      <a:pathLst>
                        <a:path w="2096" h="1584">
                          <a:moveTo>
                            <a:pt x="0" y="372"/>
                          </a:moveTo>
                          <a:lnTo>
                            <a:pt x="28" y="244"/>
                          </a:lnTo>
                          <a:lnTo>
                            <a:pt x="192" y="112"/>
                          </a:lnTo>
                          <a:lnTo>
                            <a:pt x="376" y="112"/>
                          </a:lnTo>
                          <a:lnTo>
                            <a:pt x="348" y="48"/>
                          </a:lnTo>
                          <a:lnTo>
                            <a:pt x="432" y="68"/>
                          </a:lnTo>
                          <a:lnTo>
                            <a:pt x="548" y="0"/>
                          </a:lnTo>
                          <a:lnTo>
                            <a:pt x="652" y="36"/>
                          </a:lnTo>
                          <a:lnTo>
                            <a:pt x="748" y="4"/>
                          </a:lnTo>
                          <a:lnTo>
                            <a:pt x="776" y="32"/>
                          </a:lnTo>
                          <a:lnTo>
                            <a:pt x="796" y="84"/>
                          </a:lnTo>
                          <a:lnTo>
                            <a:pt x="888" y="176"/>
                          </a:lnTo>
                          <a:lnTo>
                            <a:pt x="1020" y="260"/>
                          </a:lnTo>
                          <a:lnTo>
                            <a:pt x="1120" y="324"/>
                          </a:lnTo>
                          <a:lnTo>
                            <a:pt x="1132" y="360"/>
                          </a:lnTo>
                          <a:lnTo>
                            <a:pt x="1132" y="420"/>
                          </a:lnTo>
                          <a:lnTo>
                            <a:pt x="1184" y="460"/>
                          </a:lnTo>
                          <a:lnTo>
                            <a:pt x="1308" y="464"/>
                          </a:lnTo>
                          <a:lnTo>
                            <a:pt x="1324" y="488"/>
                          </a:lnTo>
                          <a:lnTo>
                            <a:pt x="1288" y="544"/>
                          </a:lnTo>
                          <a:lnTo>
                            <a:pt x="1328" y="564"/>
                          </a:lnTo>
                          <a:lnTo>
                            <a:pt x="1464" y="512"/>
                          </a:lnTo>
                          <a:lnTo>
                            <a:pt x="1504" y="540"/>
                          </a:lnTo>
                          <a:lnTo>
                            <a:pt x="1568" y="456"/>
                          </a:lnTo>
                          <a:lnTo>
                            <a:pt x="1780" y="436"/>
                          </a:lnTo>
                          <a:lnTo>
                            <a:pt x="1796" y="396"/>
                          </a:lnTo>
                          <a:lnTo>
                            <a:pt x="1848" y="392"/>
                          </a:lnTo>
                          <a:lnTo>
                            <a:pt x="1968" y="468"/>
                          </a:lnTo>
                          <a:lnTo>
                            <a:pt x="2016" y="460"/>
                          </a:lnTo>
                          <a:lnTo>
                            <a:pt x="2096" y="548"/>
                          </a:lnTo>
                          <a:lnTo>
                            <a:pt x="2016" y="812"/>
                          </a:lnTo>
                          <a:lnTo>
                            <a:pt x="1956" y="812"/>
                          </a:lnTo>
                          <a:lnTo>
                            <a:pt x="1936" y="888"/>
                          </a:lnTo>
                          <a:lnTo>
                            <a:pt x="1888" y="876"/>
                          </a:lnTo>
                          <a:lnTo>
                            <a:pt x="1864" y="956"/>
                          </a:lnTo>
                          <a:lnTo>
                            <a:pt x="1880" y="976"/>
                          </a:lnTo>
                          <a:lnTo>
                            <a:pt x="1840" y="1044"/>
                          </a:lnTo>
                          <a:lnTo>
                            <a:pt x="1680" y="1032"/>
                          </a:lnTo>
                          <a:lnTo>
                            <a:pt x="1744" y="1168"/>
                          </a:lnTo>
                          <a:lnTo>
                            <a:pt x="1696" y="1172"/>
                          </a:lnTo>
                          <a:lnTo>
                            <a:pt x="1720" y="1276"/>
                          </a:lnTo>
                          <a:lnTo>
                            <a:pt x="1780" y="1264"/>
                          </a:lnTo>
                          <a:lnTo>
                            <a:pt x="1848" y="1296"/>
                          </a:lnTo>
                          <a:lnTo>
                            <a:pt x="1816" y="1372"/>
                          </a:lnTo>
                          <a:lnTo>
                            <a:pt x="1884" y="1468"/>
                          </a:lnTo>
                          <a:lnTo>
                            <a:pt x="1832" y="1524"/>
                          </a:lnTo>
                          <a:lnTo>
                            <a:pt x="1772" y="1532"/>
                          </a:lnTo>
                          <a:lnTo>
                            <a:pt x="1728" y="1584"/>
                          </a:lnTo>
                          <a:lnTo>
                            <a:pt x="1660" y="1536"/>
                          </a:lnTo>
                          <a:lnTo>
                            <a:pt x="1656" y="1472"/>
                          </a:lnTo>
                          <a:lnTo>
                            <a:pt x="1596" y="1492"/>
                          </a:lnTo>
                          <a:lnTo>
                            <a:pt x="1548" y="1544"/>
                          </a:lnTo>
                          <a:lnTo>
                            <a:pt x="1556" y="1468"/>
                          </a:lnTo>
                          <a:lnTo>
                            <a:pt x="1536" y="1444"/>
                          </a:lnTo>
                          <a:lnTo>
                            <a:pt x="1496" y="1480"/>
                          </a:lnTo>
                          <a:lnTo>
                            <a:pt x="1440" y="1488"/>
                          </a:lnTo>
                          <a:lnTo>
                            <a:pt x="1352" y="1376"/>
                          </a:lnTo>
                          <a:lnTo>
                            <a:pt x="1260" y="1420"/>
                          </a:lnTo>
                          <a:lnTo>
                            <a:pt x="1104" y="1308"/>
                          </a:lnTo>
                          <a:lnTo>
                            <a:pt x="1004" y="1308"/>
                          </a:lnTo>
                          <a:lnTo>
                            <a:pt x="884" y="1392"/>
                          </a:lnTo>
                          <a:lnTo>
                            <a:pt x="812" y="1392"/>
                          </a:lnTo>
                          <a:lnTo>
                            <a:pt x="876" y="1444"/>
                          </a:lnTo>
                          <a:lnTo>
                            <a:pt x="848" y="1512"/>
                          </a:lnTo>
                          <a:lnTo>
                            <a:pt x="728" y="1580"/>
                          </a:lnTo>
                          <a:lnTo>
                            <a:pt x="616" y="1516"/>
                          </a:lnTo>
                          <a:lnTo>
                            <a:pt x="528" y="1512"/>
                          </a:lnTo>
                          <a:lnTo>
                            <a:pt x="536" y="1412"/>
                          </a:lnTo>
                          <a:lnTo>
                            <a:pt x="448" y="1424"/>
                          </a:lnTo>
                          <a:lnTo>
                            <a:pt x="352" y="1348"/>
                          </a:lnTo>
                          <a:lnTo>
                            <a:pt x="236" y="1304"/>
                          </a:lnTo>
                          <a:lnTo>
                            <a:pt x="240" y="1028"/>
                          </a:lnTo>
                          <a:lnTo>
                            <a:pt x="208" y="864"/>
                          </a:lnTo>
                          <a:lnTo>
                            <a:pt x="236" y="808"/>
                          </a:lnTo>
                          <a:lnTo>
                            <a:pt x="316" y="756"/>
                          </a:lnTo>
                          <a:lnTo>
                            <a:pt x="368" y="756"/>
                          </a:lnTo>
                          <a:lnTo>
                            <a:pt x="416" y="656"/>
                          </a:lnTo>
                          <a:lnTo>
                            <a:pt x="308" y="596"/>
                          </a:lnTo>
                          <a:lnTo>
                            <a:pt x="304" y="552"/>
                          </a:lnTo>
                          <a:lnTo>
                            <a:pt x="336" y="516"/>
                          </a:lnTo>
                          <a:lnTo>
                            <a:pt x="248" y="508"/>
                          </a:lnTo>
                          <a:lnTo>
                            <a:pt x="176" y="444"/>
                          </a:lnTo>
                          <a:lnTo>
                            <a:pt x="140" y="384"/>
                          </a:lnTo>
                          <a:lnTo>
                            <a:pt x="76" y="372"/>
                          </a:lnTo>
                          <a:lnTo>
                            <a:pt x="36" y="396"/>
                          </a:lnTo>
                          <a:lnTo>
                            <a:pt x="0" y="372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57" name="Freeform 56"/>
                    <p:cNvSpPr>
                      <a:spLocks/>
                    </p:cNvSpPr>
                    <p:nvPr/>
                  </p:nvSpPr>
                  <p:spPr bwMode="auto">
                    <a:xfrm>
                      <a:off x="2271" y="1015"/>
                      <a:ext cx="290" cy="326"/>
                    </a:xfrm>
                    <a:custGeom>
                      <a:avLst/>
                      <a:gdLst>
                        <a:gd name="T0" fmla="*/ 444 w 843"/>
                        <a:gd name="T1" fmla="*/ 66 h 952"/>
                        <a:gd name="T2" fmla="*/ 427 w 843"/>
                        <a:gd name="T3" fmla="*/ 100 h 952"/>
                        <a:gd name="T4" fmla="*/ 397 w 843"/>
                        <a:gd name="T5" fmla="*/ 135 h 952"/>
                        <a:gd name="T6" fmla="*/ 318 w 843"/>
                        <a:gd name="T7" fmla="*/ 150 h 952"/>
                        <a:gd name="T8" fmla="*/ 238 w 843"/>
                        <a:gd name="T9" fmla="*/ 201 h 952"/>
                        <a:gd name="T10" fmla="*/ 195 w 843"/>
                        <a:gd name="T11" fmla="*/ 285 h 952"/>
                        <a:gd name="T12" fmla="*/ 217 w 843"/>
                        <a:gd name="T13" fmla="*/ 349 h 952"/>
                        <a:gd name="T14" fmla="*/ 193 w 843"/>
                        <a:gd name="T15" fmla="*/ 411 h 952"/>
                        <a:gd name="T16" fmla="*/ 223 w 843"/>
                        <a:gd name="T17" fmla="*/ 462 h 952"/>
                        <a:gd name="T18" fmla="*/ 181 w 843"/>
                        <a:gd name="T19" fmla="*/ 504 h 952"/>
                        <a:gd name="T20" fmla="*/ 72 w 843"/>
                        <a:gd name="T21" fmla="*/ 619 h 952"/>
                        <a:gd name="T22" fmla="*/ 25 w 843"/>
                        <a:gd name="T23" fmla="*/ 645 h 952"/>
                        <a:gd name="T24" fmla="*/ 12 w 843"/>
                        <a:gd name="T25" fmla="*/ 696 h 952"/>
                        <a:gd name="T26" fmla="*/ 16 w 843"/>
                        <a:gd name="T27" fmla="*/ 769 h 952"/>
                        <a:gd name="T28" fmla="*/ 0 w 843"/>
                        <a:gd name="T29" fmla="*/ 819 h 952"/>
                        <a:gd name="T30" fmla="*/ 171 w 843"/>
                        <a:gd name="T31" fmla="*/ 837 h 952"/>
                        <a:gd name="T32" fmla="*/ 240 w 843"/>
                        <a:gd name="T33" fmla="*/ 829 h 952"/>
                        <a:gd name="T34" fmla="*/ 294 w 843"/>
                        <a:gd name="T35" fmla="*/ 862 h 952"/>
                        <a:gd name="T36" fmla="*/ 333 w 843"/>
                        <a:gd name="T37" fmla="*/ 856 h 952"/>
                        <a:gd name="T38" fmla="*/ 358 w 843"/>
                        <a:gd name="T39" fmla="*/ 952 h 952"/>
                        <a:gd name="T40" fmla="*/ 429 w 843"/>
                        <a:gd name="T41" fmla="*/ 901 h 952"/>
                        <a:gd name="T42" fmla="*/ 531 w 843"/>
                        <a:gd name="T43" fmla="*/ 895 h 952"/>
                        <a:gd name="T44" fmla="*/ 579 w 843"/>
                        <a:gd name="T45" fmla="*/ 928 h 952"/>
                        <a:gd name="T46" fmla="*/ 639 w 843"/>
                        <a:gd name="T47" fmla="*/ 864 h 952"/>
                        <a:gd name="T48" fmla="*/ 628 w 843"/>
                        <a:gd name="T49" fmla="*/ 846 h 952"/>
                        <a:gd name="T50" fmla="*/ 648 w 843"/>
                        <a:gd name="T51" fmla="*/ 790 h 952"/>
                        <a:gd name="T52" fmla="*/ 693 w 843"/>
                        <a:gd name="T53" fmla="*/ 787 h 952"/>
                        <a:gd name="T54" fmla="*/ 739 w 843"/>
                        <a:gd name="T55" fmla="*/ 807 h 952"/>
                        <a:gd name="T56" fmla="*/ 768 w 843"/>
                        <a:gd name="T57" fmla="*/ 774 h 952"/>
                        <a:gd name="T58" fmla="*/ 760 w 843"/>
                        <a:gd name="T59" fmla="*/ 748 h 952"/>
                        <a:gd name="T60" fmla="*/ 796 w 843"/>
                        <a:gd name="T61" fmla="*/ 691 h 952"/>
                        <a:gd name="T62" fmla="*/ 843 w 843"/>
                        <a:gd name="T63" fmla="*/ 741 h 952"/>
                        <a:gd name="T64" fmla="*/ 822 w 843"/>
                        <a:gd name="T65" fmla="*/ 543 h 952"/>
                        <a:gd name="T66" fmla="*/ 759 w 843"/>
                        <a:gd name="T67" fmla="*/ 507 h 952"/>
                        <a:gd name="T68" fmla="*/ 760 w 843"/>
                        <a:gd name="T69" fmla="*/ 445 h 952"/>
                        <a:gd name="T70" fmla="*/ 708 w 843"/>
                        <a:gd name="T71" fmla="*/ 385 h 952"/>
                        <a:gd name="T72" fmla="*/ 637 w 843"/>
                        <a:gd name="T73" fmla="*/ 400 h 952"/>
                        <a:gd name="T74" fmla="*/ 585 w 843"/>
                        <a:gd name="T75" fmla="*/ 267 h 952"/>
                        <a:gd name="T76" fmla="*/ 577 w 843"/>
                        <a:gd name="T77" fmla="*/ 211 h 952"/>
                        <a:gd name="T78" fmla="*/ 502 w 843"/>
                        <a:gd name="T79" fmla="*/ 144 h 952"/>
                        <a:gd name="T80" fmla="*/ 525 w 843"/>
                        <a:gd name="T81" fmla="*/ 90 h 952"/>
                        <a:gd name="T82" fmla="*/ 592 w 843"/>
                        <a:gd name="T83" fmla="*/ 49 h 952"/>
                        <a:gd name="T84" fmla="*/ 559 w 843"/>
                        <a:gd name="T85" fmla="*/ 0 h 952"/>
                        <a:gd name="T86" fmla="*/ 444 w 843"/>
                        <a:gd name="T87" fmla="*/ 66 h 95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</a:cxnLst>
                      <a:rect l="0" t="0" r="r" b="b"/>
                      <a:pathLst>
                        <a:path w="843" h="952">
                          <a:moveTo>
                            <a:pt x="444" y="66"/>
                          </a:moveTo>
                          <a:lnTo>
                            <a:pt x="427" y="100"/>
                          </a:lnTo>
                          <a:lnTo>
                            <a:pt x="397" y="135"/>
                          </a:lnTo>
                          <a:lnTo>
                            <a:pt x="318" y="150"/>
                          </a:lnTo>
                          <a:lnTo>
                            <a:pt x="238" y="201"/>
                          </a:lnTo>
                          <a:lnTo>
                            <a:pt x="195" y="285"/>
                          </a:lnTo>
                          <a:lnTo>
                            <a:pt x="217" y="349"/>
                          </a:lnTo>
                          <a:lnTo>
                            <a:pt x="193" y="411"/>
                          </a:lnTo>
                          <a:lnTo>
                            <a:pt x="223" y="462"/>
                          </a:lnTo>
                          <a:lnTo>
                            <a:pt x="181" y="504"/>
                          </a:lnTo>
                          <a:lnTo>
                            <a:pt x="72" y="619"/>
                          </a:lnTo>
                          <a:lnTo>
                            <a:pt x="25" y="645"/>
                          </a:lnTo>
                          <a:lnTo>
                            <a:pt x="12" y="696"/>
                          </a:lnTo>
                          <a:lnTo>
                            <a:pt x="16" y="769"/>
                          </a:lnTo>
                          <a:lnTo>
                            <a:pt x="0" y="819"/>
                          </a:lnTo>
                          <a:lnTo>
                            <a:pt x="171" y="837"/>
                          </a:lnTo>
                          <a:lnTo>
                            <a:pt x="240" y="829"/>
                          </a:lnTo>
                          <a:lnTo>
                            <a:pt x="294" y="862"/>
                          </a:lnTo>
                          <a:lnTo>
                            <a:pt x="333" y="856"/>
                          </a:lnTo>
                          <a:lnTo>
                            <a:pt x="358" y="952"/>
                          </a:lnTo>
                          <a:lnTo>
                            <a:pt x="429" y="901"/>
                          </a:lnTo>
                          <a:lnTo>
                            <a:pt x="531" y="895"/>
                          </a:lnTo>
                          <a:lnTo>
                            <a:pt x="579" y="928"/>
                          </a:lnTo>
                          <a:lnTo>
                            <a:pt x="639" y="864"/>
                          </a:lnTo>
                          <a:lnTo>
                            <a:pt x="628" y="846"/>
                          </a:lnTo>
                          <a:lnTo>
                            <a:pt x="648" y="790"/>
                          </a:lnTo>
                          <a:lnTo>
                            <a:pt x="693" y="787"/>
                          </a:lnTo>
                          <a:lnTo>
                            <a:pt x="739" y="807"/>
                          </a:lnTo>
                          <a:lnTo>
                            <a:pt x="768" y="774"/>
                          </a:lnTo>
                          <a:lnTo>
                            <a:pt x="760" y="748"/>
                          </a:lnTo>
                          <a:lnTo>
                            <a:pt x="796" y="691"/>
                          </a:lnTo>
                          <a:lnTo>
                            <a:pt x="843" y="741"/>
                          </a:lnTo>
                          <a:lnTo>
                            <a:pt x="822" y="543"/>
                          </a:lnTo>
                          <a:lnTo>
                            <a:pt x="759" y="507"/>
                          </a:lnTo>
                          <a:lnTo>
                            <a:pt x="760" y="445"/>
                          </a:lnTo>
                          <a:lnTo>
                            <a:pt x="708" y="385"/>
                          </a:lnTo>
                          <a:lnTo>
                            <a:pt x="637" y="400"/>
                          </a:lnTo>
                          <a:lnTo>
                            <a:pt x="585" y="267"/>
                          </a:lnTo>
                          <a:lnTo>
                            <a:pt x="577" y="211"/>
                          </a:lnTo>
                          <a:lnTo>
                            <a:pt x="502" y="144"/>
                          </a:lnTo>
                          <a:lnTo>
                            <a:pt x="525" y="90"/>
                          </a:lnTo>
                          <a:lnTo>
                            <a:pt x="592" y="49"/>
                          </a:lnTo>
                          <a:lnTo>
                            <a:pt x="559" y="0"/>
                          </a:lnTo>
                          <a:lnTo>
                            <a:pt x="444" y="66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58" name="Freeform 57"/>
                    <p:cNvSpPr>
                      <a:spLocks/>
                    </p:cNvSpPr>
                    <p:nvPr/>
                  </p:nvSpPr>
                  <p:spPr bwMode="auto">
                    <a:xfrm>
                      <a:off x="2444" y="945"/>
                      <a:ext cx="320" cy="311"/>
                    </a:xfrm>
                    <a:custGeom>
                      <a:avLst/>
                      <a:gdLst>
                        <a:gd name="T0" fmla="*/ 763 w 933"/>
                        <a:gd name="T1" fmla="*/ 237 h 909"/>
                        <a:gd name="T2" fmla="*/ 798 w 933"/>
                        <a:gd name="T3" fmla="*/ 237 h 909"/>
                        <a:gd name="T4" fmla="*/ 801 w 933"/>
                        <a:gd name="T5" fmla="*/ 306 h 909"/>
                        <a:gd name="T6" fmla="*/ 879 w 933"/>
                        <a:gd name="T7" fmla="*/ 409 h 909"/>
                        <a:gd name="T8" fmla="*/ 856 w 933"/>
                        <a:gd name="T9" fmla="*/ 474 h 909"/>
                        <a:gd name="T10" fmla="*/ 894 w 933"/>
                        <a:gd name="T11" fmla="*/ 514 h 909"/>
                        <a:gd name="T12" fmla="*/ 858 w 933"/>
                        <a:gd name="T13" fmla="*/ 570 h 909"/>
                        <a:gd name="T14" fmla="*/ 909 w 933"/>
                        <a:gd name="T15" fmla="*/ 628 h 909"/>
                        <a:gd name="T16" fmla="*/ 933 w 933"/>
                        <a:gd name="T17" fmla="*/ 679 h 909"/>
                        <a:gd name="T18" fmla="*/ 883 w 933"/>
                        <a:gd name="T19" fmla="*/ 691 h 909"/>
                        <a:gd name="T20" fmla="*/ 807 w 933"/>
                        <a:gd name="T21" fmla="*/ 663 h 909"/>
                        <a:gd name="T22" fmla="*/ 775 w 933"/>
                        <a:gd name="T23" fmla="*/ 663 h 909"/>
                        <a:gd name="T24" fmla="*/ 736 w 933"/>
                        <a:gd name="T25" fmla="*/ 640 h 909"/>
                        <a:gd name="T26" fmla="*/ 687 w 933"/>
                        <a:gd name="T27" fmla="*/ 667 h 909"/>
                        <a:gd name="T28" fmla="*/ 619 w 933"/>
                        <a:gd name="T29" fmla="*/ 664 h 909"/>
                        <a:gd name="T30" fmla="*/ 576 w 933"/>
                        <a:gd name="T31" fmla="*/ 744 h 909"/>
                        <a:gd name="T32" fmla="*/ 585 w 933"/>
                        <a:gd name="T33" fmla="*/ 838 h 909"/>
                        <a:gd name="T34" fmla="*/ 576 w 933"/>
                        <a:gd name="T35" fmla="*/ 886 h 909"/>
                        <a:gd name="T36" fmla="*/ 531 w 933"/>
                        <a:gd name="T37" fmla="*/ 909 h 909"/>
                        <a:gd name="T38" fmla="*/ 393 w 933"/>
                        <a:gd name="T39" fmla="*/ 871 h 909"/>
                        <a:gd name="T40" fmla="*/ 421 w 933"/>
                        <a:gd name="T41" fmla="*/ 825 h 909"/>
                        <a:gd name="T42" fmla="*/ 315 w 933"/>
                        <a:gd name="T43" fmla="*/ 741 h 909"/>
                        <a:gd name="T44" fmla="*/ 253 w 933"/>
                        <a:gd name="T45" fmla="*/ 706 h 909"/>
                        <a:gd name="T46" fmla="*/ 256 w 933"/>
                        <a:gd name="T47" fmla="*/ 648 h 909"/>
                        <a:gd name="T48" fmla="*/ 201 w 933"/>
                        <a:gd name="T49" fmla="*/ 589 h 909"/>
                        <a:gd name="T50" fmla="*/ 133 w 933"/>
                        <a:gd name="T51" fmla="*/ 600 h 909"/>
                        <a:gd name="T52" fmla="*/ 82 w 933"/>
                        <a:gd name="T53" fmla="*/ 471 h 909"/>
                        <a:gd name="T54" fmla="*/ 75 w 933"/>
                        <a:gd name="T55" fmla="*/ 418 h 909"/>
                        <a:gd name="T56" fmla="*/ 0 w 933"/>
                        <a:gd name="T57" fmla="*/ 345 h 909"/>
                        <a:gd name="T58" fmla="*/ 24 w 933"/>
                        <a:gd name="T59" fmla="*/ 291 h 909"/>
                        <a:gd name="T60" fmla="*/ 88 w 933"/>
                        <a:gd name="T61" fmla="*/ 250 h 909"/>
                        <a:gd name="T62" fmla="*/ 58 w 933"/>
                        <a:gd name="T63" fmla="*/ 205 h 909"/>
                        <a:gd name="T64" fmla="*/ 91 w 933"/>
                        <a:gd name="T65" fmla="*/ 138 h 909"/>
                        <a:gd name="T66" fmla="*/ 24 w 933"/>
                        <a:gd name="T67" fmla="*/ 84 h 909"/>
                        <a:gd name="T68" fmla="*/ 99 w 933"/>
                        <a:gd name="T69" fmla="*/ 84 h 909"/>
                        <a:gd name="T70" fmla="*/ 220 w 933"/>
                        <a:gd name="T71" fmla="*/ 0 h 909"/>
                        <a:gd name="T72" fmla="*/ 319 w 933"/>
                        <a:gd name="T73" fmla="*/ 3 h 909"/>
                        <a:gd name="T74" fmla="*/ 475 w 933"/>
                        <a:gd name="T75" fmla="*/ 112 h 909"/>
                        <a:gd name="T76" fmla="*/ 570 w 933"/>
                        <a:gd name="T77" fmla="*/ 72 h 909"/>
                        <a:gd name="T78" fmla="*/ 657 w 933"/>
                        <a:gd name="T79" fmla="*/ 181 h 909"/>
                        <a:gd name="T80" fmla="*/ 712 w 933"/>
                        <a:gd name="T81" fmla="*/ 174 h 909"/>
                        <a:gd name="T82" fmla="*/ 750 w 933"/>
                        <a:gd name="T83" fmla="*/ 138 h 909"/>
                        <a:gd name="T84" fmla="*/ 774 w 933"/>
                        <a:gd name="T85" fmla="*/ 162 h 909"/>
                        <a:gd name="T86" fmla="*/ 763 w 933"/>
                        <a:gd name="T87" fmla="*/ 237 h 90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</a:cxnLst>
                      <a:rect l="0" t="0" r="r" b="b"/>
                      <a:pathLst>
                        <a:path w="933" h="909">
                          <a:moveTo>
                            <a:pt x="763" y="237"/>
                          </a:moveTo>
                          <a:lnTo>
                            <a:pt x="798" y="237"/>
                          </a:lnTo>
                          <a:lnTo>
                            <a:pt x="801" y="306"/>
                          </a:lnTo>
                          <a:lnTo>
                            <a:pt x="879" y="409"/>
                          </a:lnTo>
                          <a:lnTo>
                            <a:pt x="856" y="474"/>
                          </a:lnTo>
                          <a:lnTo>
                            <a:pt x="894" y="514"/>
                          </a:lnTo>
                          <a:lnTo>
                            <a:pt x="858" y="570"/>
                          </a:lnTo>
                          <a:lnTo>
                            <a:pt x="909" y="628"/>
                          </a:lnTo>
                          <a:lnTo>
                            <a:pt x="933" y="679"/>
                          </a:lnTo>
                          <a:lnTo>
                            <a:pt x="883" y="691"/>
                          </a:lnTo>
                          <a:lnTo>
                            <a:pt x="807" y="663"/>
                          </a:lnTo>
                          <a:lnTo>
                            <a:pt x="775" y="663"/>
                          </a:lnTo>
                          <a:lnTo>
                            <a:pt x="736" y="640"/>
                          </a:lnTo>
                          <a:lnTo>
                            <a:pt x="687" y="667"/>
                          </a:lnTo>
                          <a:lnTo>
                            <a:pt x="619" y="664"/>
                          </a:lnTo>
                          <a:lnTo>
                            <a:pt x="576" y="744"/>
                          </a:lnTo>
                          <a:lnTo>
                            <a:pt x="585" y="838"/>
                          </a:lnTo>
                          <a:lnTo>
                            <a:pt x="576" y="886"/>
                          </a:lnTo>
                          <a:lnTo>
                            <a:pt x="531" y="909"/>
                          </a:lnTo>
                          <a:lnTo>
                            <a:pt x="393" y="871"/>
                          </a:lnTo>
                          <a:lnTo>
                            <a:pt x="421" y="825"/>
                          </a:lnTo>
                          <a:lnTo>
                            <a:pt x="315" y="741"/>
                          </a:lnTo>
                          <a:lnTo>
                            <a:pt x="253" y="706"/>
                          </a:lnTo>
                          <a:lnTo>
                            <a:pt x="256" y="648"/>
                          </a:lnTo>
                          <a:lnTo>
                            <a:pt x="201" y="589"/>
                          </a:lnTo>
                          <a:lnTo>
                            <a:pt x="133" y="600"/>
                          </a:lnTo>
                          <a:lnTo>
                            <a:pt x="82" y="471"/>
                          </a:lnTo>
                          <a:lnTo>
                            <a:pt x="75" y="418"/>
                          </a:lnTo>
                          <a:lnTo>
                            <a:pt x="0" y="345"/>
                          </a:lnTo>
                          <a:lnTo>
                            <a:pt x="24" y="291"/>
                          </a:lnTo>
                          <a:lnTo>
                            <a:pt x="88" y="250"/>
                          </a:lnTo>
                          <a:lnTo>
                            <a:pt x="58" y="205"/>
                          </a:lnTo>
                          <a:lnTo>
                            <a:pt x="91" y="138"/>
                          </a:lnTo>
                          <a:lnTo>
                            <a:pt x="24" y="84"/>
                          </a:lnTo>
                          <a:lnTo>
                            <a:pt x="99" y="84"/>
                          </a:lnTo>
                          <a:lnTo>
                            <a:pt x="220" y="0"/>
                          </a:lnTo>
                          <a:lnTo>
                            <a:pt x="319" y="3"/>
                          </a:lnTo>
                          <a:lnTo>
                            <a:pt x="475" y="112"/>
                          </a:lnTo>
                          <a:lnTo>
                            <a:pt x="570" y="72"/>
                          </a:lnTo>
                          <a:lnTo>
                            <a:pt x="657" y="181"/>
                          </a:lnTo>
                          <a:lnTo>
                            <a:pt x="712" y="174"/>
                          </a:lnTo>
                          <a:lnTo>
                            <a:pt x="750" y="138"/>
                          </a:lnTo>
                          <a:lnTo>
                            <a:pt x="774" y="162"/>
                          </a:lnTo>
                          <a:lnTo>
                            <a:pt x="763" y="237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59" name="Freeform 58"/>
                    <p:cNvSpPr>
                      <a:spLocks/>
                    </p:cNvSpPr>
                    <p:nvPr/>
                  </p:nvSpPr>
                  <p:spPr bwMode="auto">
                    <a:xfrm>
                      <a:off x="2626" y="1141"/>
                      <a:ext cx="337" cy="302"/>
                    </a:xfrm>
                    <a:custGeom>
                      <a:avLst/>
                      <a:gdLst>
                        <a:gd name="T0" fmla="*/ 372 w 981"/>
                        <a:gd name="T1" fmla="*/ 51 h 881"/>
                        <a:gd name="T2" fmla="*/ 399 w 981"/>
                        <a:gd name="T3" fmla="*/ 38 h 881"/>
                        <a:gd name="T4" fmla="*/ 417 w 981"/>
                        <a:gd name="T5" fmla="*/ 0 h 881"/>
                        <a:gd name="T6" fmla="*/ 476 w 981"/>
                        <a:gd name="T7" fmla="*/ 42 h 881"/>
                        <a:gd name="T8" fmla="*/ 477 w 981"/>
                        <a:gd name="T9" fmla="*/ 69 h 881"/>
                        <a:gd name="T10" fmla="*/ 549 w 981"/>
                        <a:gd name="T11" fmla="*/ 155 h 881"/>
                        <a:gd name="T12" fmla="*/ 650 w 981"/>
                        <a:gd name="T13" fmla="*/ 156 h 881"/>
                        <a:gd name="T14" fmla="*/ 750 w 981"/>
                        <a:gd name="T15" fmla="*/ 236 h 881"/>
                        <a:gd name="T16" fmla="*/ 749 w 981"/>
                        <a:gd name="T17" fmla="*/ 297 h 881"/>
                        <a:gd name="T18" fmla="*/ 783 w 981"/>
                        <a:gd name="T19" fmla="*/ 312 h 881"/>
                        <a:gd name="T20" fmla="*/ 864 w 981"/>
                        <a:gd name="T21" fmla="*/ 315 h 881"/>
                        <a:gd name="T22" fmla="*/ 914 w 981"/>
                        <a:gd name="T23" fmla="*/ 368 h 881"/>
                        <a:gd name="T24" fmla="*/ 965 w 981"/>
                        <a:gd name="T25" fmla="*/ 384 h 881"/>
                        <a:gd name="T26" fmla="*/ 981 w 981"/>
                        <a:gd name="T27" fmla="*/ 414 h 881"/>
                        <a:gd name="T28" fmla="*/ 923 w 981"/>
                        <a:gd name="T29" fmla="*/ 411 h 881"/>
                        <a:gd name="T30" fmla="*/ 858 w 981"/>
                        <a:gd name="T31" fmla="*/ 482 h 881"/>
                        <a:gd name="T32" fmla="*/ 794 w 981"/>
                        <a:gd name="T33" fmla="*/ 537 h 881"/>
                        <a:gd name="T34" fmla="*/ 777 w 981"/>
                        <a:gd name="T35" fmla="*/ 575 h 881"/>
                        <a:gd name="T36" fmla="*/ 785 w 981"/>
                        <a:gd name="T37" fmla="*/ 591 h 881"/>
                        <a:gd name="T38" fmla="*/ 740 w 981"/>
                        <a:gd name="T39" fmla="*/ 657 h 881"/>
                        <a:gd name="T40" fmla="*/ 764 w 981"/>
                        <a:gd name="T41" fmla="*/ 702 h 881"/>
                        <a:gd name="T42" fmla="*/ 740 w 981"/>
                        <a:gd name="T43" fmla="*/ 743 h 881"/>
                        <a:gd name="T44" fmla="*/ 705 w 981"/>
                        <a:gd name="T45" fmla="*/ 771 h 881"/>
                        <a:gd name="T46" fmla="*/ 702 w 981"/>
                        <a:gd name="T47" fmla="*/ 852 h 881"/>
                        <a:gd name="T48" fmla="*/ 660 w 981"/>
                        <a:gd name="T49" fmla="*/ 881 h 881"/>
                        <a:gd name="T50" fmla="*/ 594 w 981"/>
                        <a:gd name="T51" fmla="*/ 845 h 881"/>
                        <a:gd name="T52" fmla="*/ 501 w 981"/>
                        <a:gd name="T53" fmla="*/ 828 h 881"/>
                        <a:gd name="T54" fmla="*/ 503 w 981"/>
                        <a:gd name="T55" fmla="*/ 803 h 881"/>
                        <a:gd name="T56" fmla="*/ 452 w 981"/>
                        <a:gd name="T57" fmla="*/ 785 h 881"/>
                        <a:gd name="T58" fmla="*/ 420 w 981"/>
                        <a:gd name="T59" fmla="*/ 746 h 881"/>
                        <a:gd name="T60" fmla="*/ 381 w 981"/>
                        <a:gd name="T61" fmla="*/ 755 h 881"/>
                        <a:gd name="T62" fmla="*/ 323 w 981"/>
                        <a:gd name="T63" fmla="*/ 692 h 881"/>
                        <a:gd name="T64" fmla="*/ 389 w 981"/>
                        <a:gd name="T65" fmla="*/ 675 h 881"/>
                        <a:gd name="T66" fmla="*/ 272 w 981"/>
                        <a:gd name="T67" fmla="*/ 620 h 881"/>
                        <a:gd name="T68" fmla="*/ 249 w 981"/>
                        <a:gd name="T69" fmla="*/ 564 h 881"/>
                        <a:gd name="T70" fmla="*/ 146 w 981"/>
                        <a:gd name="T71" fmla="*/ 608 h 881"/>
                        <a:gd name="T72" fmla="*/ 146 w 981"/>
                        <a:gd name="T73" fmla="*/ 636 h 881"/>
                        <a:gd name="T74" fmla="*/ 128 w 981"/>
                        <a:gd name="T75" fmla="*/ 632 h 881"/>
                        <a:gd name="T76" fmla="*/ 105 w 981"/>
                        <a:gd name="T77" fmla="*/ 590 h 881"/>
                        <a:gd name="T78" fmla="*/ 80 w 981"/>
                        <a:gd name="T79" fmla="*/ 605 h 881"/>
                        <a:gd name="T80" fmla="*/ 62 w 981"/>
                        <a:gd name="T81" fmla="*/ 566 h 881"/>
                        <a:gd name="T82" fmla="*/ 65 w 981"/>
                        <a:gd name="T83" fmla="*/ 501 h 881"/>
                        <a:gd name="T84" fmla="*/ 95 w 981"/>
                        <a:gd name="T85" fmla="*/ 449 h 881"/>
                        <a:gd name="T86" fmla="*/ 102 w 981"/>
                        <a:gd name="T87" fmla="*/ 432 h 881"/>
                        <a:gd name="T88" fmla="*/ 95 w 981"/>
                        <a:gd name="T89" fmla="*/ 393 h 881"/>
                        <a:gd name="T90" fmla="*/ 50 w 981"/>
                        <a:gd name="T91" fmla="*/ 386 h 881"/>
                        <a:gd name="T92" fmla="*/ 9 w 981"/>
                        <a:gd name="T93" fmla="*/ 353 h 881"/>
                        <a:gd name="T94" fmla="*/ 0 w 981"/>
                        <a:gd name="T95" fmla="*/ 332 h 881"/>
                        <a:gd name="T96" fmla="*/ 42 w 981"/>
                        <a:gd name="T97" fmla="*/ 311 h 881"/>
                        <a:gd name="T98" fmla="*/ 51 w 981"/>
                        <a:gd name="T99" fmla="*/ 263 h 881"/>
                        <a:gd name="T100" fmla="*/ 44 w 981"/>
                        <a:gd name="T101" fmla="*/ 168 h 881"/>
                        <a:gd name="T102" fmla="*/ 87 w 981"/>
                        <a:gd name="T103" fmla="*/ 89 h 881"/>
                        <a:gd name="T104" fmla="*/ 156 w 981"/>
                        <a:gd name="T105" fmla="*/ 92 h 881"/>
                        <a:gd name="T106" fmla="*/ 201 w 981"/>
                        <a:gd name="T107" fmla="*/ 65 h 881"/>
                        <a:gd name="T108" fmla="*/ 242 w 981"/>
                        <a:gd name="T109" fmla="*/ 89 h 881"/>
                        <a:gd name="T110" fmla="*/ 272 w 981"/>
                        <a:gd name="T111" fmla="*/ 89 h 881"/>
                        <a:gd name="T112" fmla="*/ 351 w 981"/>
                        <a:gd name="T113" fmla="*/ 116 h 881"/>
                        <a:gd name="T114" fmla="*/ 399 w 981"/>
                        <a:gd name="T115" fmla="*/ 102 h 881"/>
                        <a:gd name="T116" fmla="*/ 372 w 981"/>
                        <a:gd name="T117" fmla="*/ 51 h 88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</a:cxnLst>
                      <a:rect l="0" t="0" r="r" b="b"/>
                      <a:pathLst>
                        <a:path w="981" h="881">
                          <a:moveTo>
                            <a:pt x="372" y="51"/>
                          </a:moveTo>
                          <a:lnTo>
                            <a:pt x="399" y="38"/>
                          </a:lnTo>
                          <a:lnTo>
                            <a:pt x="417" y="0"/>
                          </a:lnTo>
                          <a:lnTo>
                            <a:pt x="476" y="42"/>
                          </a:lnTo>
                          <a:lnTo>
                            <a:pt x="477" y="69"/>
                          </a:lnTo>
                          <a:lnTo>
                            <a:pt x="549" y="155"/>
                          </a:lnTo>
                          <a:lnTo>
                            <a:pt x="650" y="156"/>
                          </a:lnTo>
                          <a:lnTo>
                            <a:pt x="750" y="236"/>
                          </a:lnTo>
                          <a:lnTo>
                            <a:pt x="749" y="297"/>
                          </a:lnTo>
                          <a:lnTo>
                            <a:pt x="783" y="312"/>
                          </a:lnTo>
                          <a:lnTo>
                            <a:pt x="864" y="315"/>
                          </a:lnTo>
                          <a:lnTo>
                            <a:pt x="914" y="368"/>
                          </a:lnTo>
                          <a:lnTo>
                            <a:pt x="965" y="384"/>
                          </a:lnTo>
                          <a:lnTo>
                            <a:pt x="981" y="414"/>
                          </a:lnTo>
                          <a:lnTo>
                            <a:pt x="923" y="411"/>
                          </a:lnTo>
                          <a:lnTo>
                            <a:pt x="858" y="482"/>
                          </a:lnTo>
                          <a:lnTo>
                            <a:pt x="794" y="537"/>
                          </a:lnTo>
                          <a:lnTo>
                            <a:pt x="777" y="575"/>
                          </a:lnTo>
                          <a:lnTo>
                            <a:pt x="785" y="591"/>
                          </a:lnTo>
                          <a:lnTo>
                            <a:pt x="740" y="657"/>
                          </a:lnTo>
                          <a:lnTo>
                            <a:pt x="764" y="702"/>
                          </a:lnTo>
                          <a:lnTo>
                            <a:pt x="740" y="743"/>
                          </a:lnTo>
                          <a:lnTo>
                            <a:pt x="705" y="771"/>
                          </a:lnTo>
                          <a:lnTo>
                            <a:pt x="702" y="852"/>
                          </a:lnTo>
                          <a:lnTo>
                            <a:pt x="660" y="881"/>
                          </a:lnTo>
                          <a:lnTo>
                            <a:pt x="594" y="845"/>
                          </a:lnTo>
                          <a:lnTo>
                            <a:pt x="501" y="828"/>
                          </a:lnTo>
                          <a:lnTo>
                            <a:pt x="503" y="803"/>
                          </a:lnTo>
                          <a:lnTo>
                            <a:pt x="452" y="785"/>
                          </a:lnTo>
                          <a:lnTo>
                            <a:pt x="420" y="746"/>
                          </a:lnTo>
                          <a:lnTo>
                            <a:pt x="381" y="755"/>
                          </a:lnTo>
                          <a:lnTo>
                            <a:pt x="323" y="692"/>
                          </a:lnTo>
                          <a:lnTo>
                            <a:pt x="389" y="675"/>
                          </a:lnTo>
                          <a:lnTo>
                            <a:pt x="272" y="620"/>
                          </a:lnTo>
                          <a:lnTo>
                            <a:pt x="249" y="564"/>
                          </a:lnTo>
                          <a:lnTo>
                            <a:pt x="146" y="608"/>
                          </a:lnTo>
                          <a:lnTo>
                            <a:pt x="146" y="636"/>
                          </a:lnTo>
                          <a:lnTo>
                            <a:pt x="128" y="632"/>
                          </a:lnTo>
                          <a:lnTo>
                            <a:pt x="105" y="590"/>
                          </a:lnTo>
                          <a:lnTo>
                            <a:pt x="80" y="605"/>
                          </a:lnTo>
                          <a:lnTo>
                            <a:pt x="62" y="566"/>
                          </a:lnTo>
                          <a:lnTo>
                            <a:pt x="65" y="501"/>
                          </a:lnTo>
                          <a:lnTo>
                            <a:pt x="95" y="449"/>
                          </a:lnTo>
                          <a:lnTo>
                            <a:pt x="102" y="432"/>
                          </a:lnTo>
                          <a:lnTo>
                            <a:pt x="95" y="393"/>
                          </a:lnTo>
                          <a:lnTo>
                            <a:pt x="50" y="386"/>
                          </a:lnTo>
                          <a:lnTo>
                            <a:pt x="9" y="353"/>
                          </a:lnTo>
                          <a:lnTo>
                            <a:pt x="0" y="332"/>
                          </a:lnTo>
                          <a:lnTo>
                            <a:pt x="42" y="311"/>
                          </a:lnTo>
                          <a:lnTo>
                            <a:pt x="51" y="263"/>
                          </a:lnTo>
                          <a:lnTo>
                            <a:pt x="44" y="168"/>
                          </a:lnTo>
                          <a:lnTo>
                            <a:pt x="87" y="89"/>
                          </a:lnTo>
                          <a:lnTo>
                            <a:pt x="156" y="92"/>
                          </a:lnTo>
                          <a:lnTo>
                            <a:pt x="201" y="65"/>
                          </a:lnTo>
                          <a:lnTo>
                            <a:pt x="242" y="89"/>
                          </a:lnTo>
                          <a:lnTo>
                            <a:pt x="272" y="89"/>
                          </a:lnTo>
                          <a:lnTo>
                            <a:pt x="351" y="116"/>
                          </a:lnTo>
                          <a:lnTo>
                            <a:pt x="399" y="102"/>
                          </a:lnTo>
                          <a:lnTo>
                            <a:pt x="372" y="51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60" name="Freeform 59"/>
                    <p:cNvSpPr>
                      <a:spLocks/>
                    </p:cNvSpPr>
                    <p:nvPr/>
                  </p:nvSpPr>
                  <p:spPr bwMode="auto">
                    <a:xfrm>
                      <a:off x="2324" y="1199"/>
                      <a:ext cx="306" cy="359"/>
                    </a:xfrm>
                    <a:custGeom>
                      <a:avLst/>
                      <a:gdLst>
                        <a:gd name="T0" fmla="*/ 0 w 890"/>
                        <a:gd name="T1" fmla="*/ 369 h 1050"/>
                        <a:gd name="T2" fmla="*/ 21 w 890"/>
                        <a:gd name="T3" fmla="*/ 442 h 1050"/>
                        <a:gd name="T4" fmla="*/ 42 w 890"/>
                        <a:gd name="T5" fmla="*/ 511 h 1050"/>
                        <a:gd name="T6" fmla="*/ 189 w 890"/>
                        <a:gd name="T7" fmla="*/ 532 h 1050"/>
                        <a:gd name="T8" fmla="*/ 249 w 890"/>
                        <a:gd name="T9" fmla="*/ 606 h 1050"/>
                        <a:gd name="T10" fmla="*/ 279 w 890"/>
                        <a:gd name="T11" fmla="*/ 726 h 1050"/>
                        <a:gd name="T12" fmla="*/ 390 w 890"/>
                        <a:gd name="T13" fmla="*/ 991 h 1050"/>
                        <a:gd name="T14" fmla="*/ 467 w 890"/>
                        <a:gd name="T15" fmla="*/ 975 h 1050"/>
                        <a:gd name="T16" fmla="*/ 507 w 890"/>
                        <a:gd name="T17" fmla="*/ 928 h 1050"/>
                        <a:gd name="T18" fmla="*/ 534 w 890"/>
                        <a:gd name="T19" fmla="*/ 895 h 1050"/>
                        <a:gd name="T20" fmla="*/ 648 w 890"/>
                        <a:gd name="T21" fmla="*/ 879 h 1050"/>
                        <a:gd name="T22" fmla="*/ 674 w 890"/>
                        <a:gd name="T23" fmla="*/ 973 h 1050"/>
                        <a:gd name="T24" fmla="*/ 701 w 890"/>
                        <a:gd name="T25" fmla="*/ 1023 h 1050"/>
                        <a:gd name="T26" fmla="*/ 843 w 890"/>
                        <a:gd name="T27" fmla="*/ 946 h 1050"/>
                        <a:gd name="T28" fmla="*/ 827 w 890"/>
                        <a:gd name="T29" fmla="*/ 858 h 1050"/>
                        <a:gd name="T30" fmla="*/ 761 w 890"/>
                        <a:gd name="T31" fmla="*/ 772 h 1050"/>
                        <a:gd name="T32" fmla="*/ 693 w 890"/>
                        <a:gd name="T33" fmla="*/ 673 h 1050"/>
                        <a:gd name="T34" fmla="*/ 764 w 890"/>
                        <a:gd name="T35" fmla="*/ 625 h 1050"/>
                        <a:gd name="T36" fmla="*/ 747 w 890"/>
                        <a:gd name="T37" fmla="*/ 517 h 1050"/>
                        <a:gd name="T38" fmla="*/ 767 w 890"/>
                        <a:gd name="T39" fmla="*/ 343 h 1050"/>
                        <a:gd name="T40" fmla="*/ 834 w 890"/>
                        <a:gd name="T41" fmla="*/ 276 h 1050"/>
                        <a:gd name="T42" fmla="*/ 890 w 890"/>
                        <a:gd name="T43" fmla="*/ 187 h 1050"/>
                        <a:gd name="T44" fmla="*/ 738 w 890"/>
                        <a:gd name="T45" fmla="*/ 129 h 1050"/>
                        <a:gd name="T46" fmla="*/ 665 w 890"/>
                        <a:gd name="T47" fmla="*/ 0 h 1050"/>
                        <a:gd name="T48" fmla="*/ 641 w 890"/>
                        <a:gd name="T49" fmla="*/ 154 h 1050"/>
                        <a:gd name="T50" fmla="*/ 614 w 890"/>
                        <a:gd name="T51" fmla="*/ 235 h 1050"/>
                        <a:gd name="T52" fmla="*/ 539 w 890"/>
                        <a:gd name="T53" fmla="*/ 250 h 1050"/>
                        <a:gd name="T54" fmla="*/ 474 w 890"/>
                        <a:gd name="T55" fmla="*/ 309 h 1050"/>
                        <a:gd name="T56" fmla="*/ 422 w 890"/>
                        <a:gd name="T57" fmla="*/ 387 h 1050"/>
                        <a:gd name="T58" fmla="*/ 273 w 890"/>
                        <a:gd name="T59" fmla="*/ 363 h 1050"/>
                        <a:gd name="T60" fmla="*/ 177 w 890"/>
                        <a:gd name="T61" fmla="*/ 319 h 1050"/>
                        <a:gd name="T62" fmla="*/ 81 w 890"/>
                        <a:gd name="T63" fmla="*/ 291 h 10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</a:cxnLst>
                      <a:rect l="0" t="0" r="r" b="b"/>
                      <a:pathLst>
                        <a:path w="890" h="1050">
                          <a:moveTo>
                            <a:pt x="15" y="297"/>
                          </a:moveTo>
                          <a:lnTo>
                            <a:pt x="0" y="369"/>
                          </a:lnTo>
                          <a:lnTo>
                            <a:pt x="41" y="375"/>
                          </a:lnTo>
                          <a:lnTo>
                            <a:pt x="21" y="442"/>
                          </a:lnTo>
                          <a:lnTo>
                            <a:pt x="11" y="475"/>
                          </a:lnTo>
                          <a:lnTo>
                            <a:pt x="42" y="511"/>
                          </a:lnTo>
                          <a:lnTo>
                            <a:pt x="108" y="504"/>
                          </a:lnTo>
                          <a:lnTo>
                            <a:pt x="189" y="532"/>
                          </a:lnTo>
                          <a:lnTo>
                            <a:pt x="251" y="519"/>
                          </a:lnTo>
                          <a:lnTo>
                            <a:pt x="249" y="606"/>
                          </a:lnTo>
                          <a:lnTo>
                            <a:pt x="296" y="621"/>
                          </a:lnTo>
                          <a:lnTo>
                            <a:pt x="279" y="726"/>
                          </a:lnTo>
                          <a:lnTo>
                            <a:pt x="417" y="856"/>
                          </a:lnTo>
                          <a:lnTo>
                            <a:pt x="390" y="991"/>
                          </a:lnTo>
                          <a:lnTo>
                            <a:pt x="446" y="1008"/>
                          </a:lnTo>
                          <a:lnTo>
                            <a:pt x="467" y="975"/>
                          </a:lnTo>
                          <a:lnTo>
                            <a:pt x="465" y="921"/>
                          </a:lnTo>
                          <a:lnTo>
                            <a:pt x="507" y="928"/>
                          </a:lnTo>
                          <a:lnTo>
                            <a:pt x="512" y="894"/>
                          </a:lnTo>
                          <a:lnTo>
                            <a:pt x="534" y="895"/>
                          </a:lnTo>
                          <a:lnTo>
                            <a:pt x="564" y="960"/>
                          </a:lnTo>
                          <a:lnTo>
                            <a:pt x="648" y="879"/>
                          </a:lnTo>
                          <a:lnTo>
                            <a:pt x="684" y="910"/>
                          </a:lnTo>
                          <a:lnTo>
                            <a:pt x="674" y="973"/>
                          </a:lnTo>
                          <a:lnTo>
                            <a:pt x="665" y="1050"/>
                          </a:lnTo>
                          <a:lnTo>
                            <a:pt x="701" y="1023"/>
                          </a:lnTo>
                          <a:lnTo>
                            <a:pt x="792" y="1018"/>
                          </a:lnTo>
                          <a:lnTo>
                            <a:pt x="843" y="946"/>
                          </a:lnTo>
                          <a:lnTo>
                            <a:pt x="843" y="892"/>
                          </a:lnTo>
                          <a:lnTo>
                            <a:pt x="827" y="858"/>
                          </a:lnTo>
                          <a:lnTo>
                            <a:pt x="830" y="801"/>
                          </a:lnTo>
                          <a:lnTo>
                            <a:pt x="761" y="772"/>
                          </a:lnTo>
                          <a:lnTo>
                            <a:pt x="668" y="778"/>
                          </a:lnTo>
                          <a:lnTo>
                            <a:pt x="693" y="673"/>
                          </a:lnTo>
                          <a:lnTo>
                            <a:pt x="749" y="669"/>
                          </a:lnTo>
                          <a:lnTo>
                            <a:pt x="764" y="625"/>
                          </a:lnTo>
                          <a:lnTo>
                            <a:pt x="732" y="591"/>
                          </a:lnTo>
                          <a:lnTo>
                            <a:pt x="747" y="517"/>
                          </a:lnTo>
                          <a:lnTo>
                            <a:pt x="714" y="442"/>
                          </a:lnTo>
                          <a:lnTo>
                            <a:pt x="767" y="343"/>
                          </a:lnTo>
                          <a:lnTo>
                            <a:pt x="752" y="312"/>
                          </a:lnTo>
                          <a:lnTo>
                            <a:pt x="834" y="276"/>
                          </a:lnTo>
                          <a:lnTo>
                            <a:pt x="833" y="231"/>
                          </a:lnTo>
                          <a:lnTo>
                            <a:pt x="890" y="187"/>
                          </a:lnTo>
                          <a:lnTo>
                            <a:pt x="879" y="166"/>
                          </a:lnTo>
                          <a:lnTo>
                            <a:pt x="738" y="129"/>
                          </a:lnTo>
                          <a:lnTo>
                            <a:pt x="768" y="82"/>
                          </a:lnTo>
                          <a:lnTo>
                            <a:pt x="665" y="0"/>
                          </a:lnTo>
                          <a:lnTo>
                            <a:pt x="687" y="199"/>
                          </a:lnTo>
                          <a:lnTo>
                            <a:pt x="641" y="154"/>
                          </a:lnTo>
                          <a:lnTo>
                            <a:pt x="605" y="207"/>
                          </a:lnTo>
                          <a:lnTo>
                            <a:pt x="614" y="235"/>
                          </a:lnTo>
                          <a:lnTo>
                            <a:pt x="585" y="267"/>
                          </a:lnTo>
                          <a:lnTo>
                            <a:pt x="539" y="250"/>
                          </a:lnTo>
                          <a:lnTo>
                            <a:pt x="492" y="252"/>
                          </a:lnTo>
                          <a:lnTo>
                            <a:pt x="474" y="309"/>
                          </a:lnTo>
                          <a:lnTo>
                            <a:pt x="485" y="327"/>
                          </a:lnTo>
                          <a:lnTo>
                            <a:pt x="422" y="387"/>
                          </a:lnTo>
                          <a:lnTo>
                            <a:pt x="377" y="357"/>
                          </a:lnTo>
                          <a:lnTo>
                            <a:pt x="273" y="363"/>
                          </a:lnTo>
                          <a:lnTo>
                            <a:pt x="201" y="408"/>
                          </a:lnTo>
                          <a:lnTo>
                            <a:pt x="177" y="319"/>
                          </a:lnTo>
                          <a:lnTo>
                            <a:pt x="138" y="322"/>
                          </a:lnTo>
                          <a:lnTo>
                            <a:pt x="81" y="291"/>
                          </a:lnTo>
                          <a:lnTo>
                            <a:pt x="15" y="297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61" name="Freeform 60"/>
                    <p:cNvSpPr>
                      <a:spLocks/>
                    </p:cNvSpPr>
                    <p:nvPr/>
                  </p:nvSpPr>
                  <p:spPr bwMode="auto">
                    <a:xfrm>
                      <a:off x="2553" y="1427"/>
                      <a:ext cx="54" cy="43"/>
                    </a:xfrm>
                    <a:custGeom>
                      <a:avLst/>
                      <a:gdLst>
                        <a:gd name="T0" fmla="*/ 82 w 159"/>
                        <a:gd name="T1" fmla="*/ 0 h 125"/>
                        <a:gd name="T2" fmla="*/ 159 w 159"/>
                        <a:gd name="T3" fmla="*/ 56 h 125"/>
                        <a:gd name="T4" fmla="*/ 147 w 159"/>
                        <a:gd name="T5" fmla="*/ 125 h 125"/>
                        <a:gd name="T6" fmla="*/ 93 w 159"/>
                        <a:gd name="T7" fmla="*/ 105 h 125"/>
                        <a:gd name="T8" fmla="*/ 0 w 159"/>
                        <a:gd name="T9" fmla="*/ 110 h 125"/>
                        <a:gd name="T10" fmla="*/ 27 w 159"/>
                        <a:gd name="T11" fmla="*/ 6 h 125"/>
                        <a:gd name="T12" fmla="*/ 82 w 159"/>
                        <a:gd name="T13" fmla="*/ 0 h 1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159" h="125">
                          <a:moveTo>
                            <a:pt x="82" y="0"/>
                          </a:moveTo>
                          <a:lnTo>
                            <a:pt x="159" y="56"/>
                          </a:lnTo>
                          <a:lnTo>
                            <a:pt x="147" y="125"/>
                          </a:lnTo>
                          <a:lnTo>
                            <a:pt x="93" y="105"/>
                          </a:lnTo>
                          <a:lnTo>
                            <a:pt x="0" y="110"/>
                          </a:lnTo>
                          <a:lnTo>
                            <a:pt x="27" y="6"/>
                          </a:lnTo>
                          <a:lnTo>
                            <a:pt x="82" y="0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62" name="Freeform 61"/>
                    <p:cNvSpPr>
                      <a:spLocks/>
                    </p:cNvSpPr>
                    <p:nvPr/>
                  </p:nvSpPr>
                  <p:spPr bwMode="auto">
                    <a:xfrm>
                      <a:off x="1823" y="1276"/>
                      <a:ext cx="870" cy="786"/>
                    </a:xfrm>
                    <a:custGeom>
                      <a:avLst/>
                      <a:gdLst>
                        <a:gd name="T0" fmla="*/ 2127 w 2534"/>
                        <a:gd name="T1" fmla="*/ 812 h 2296"/>
                        <a:gd name="T2" fmla="*/ 2024 w 2534"/>
                        <a:gd name="T3" fmla="*/ 729 h 2296"/>
                        <a:gd name="T4" fmla="*/ 1967 w 2534"/>
                        <a:gd name="T5" fmla="*/ 698 h 2296"/>
                        <a:gd name="T6" fmla="*/ 1907 w 2534"/>
                        <a:gd name="T7" fmla="*/ 780 h 2296"/>
                        <a:gd name="T8" fmla="*/ 1740 w 2534"/>
                        <a:gd name="T9" fmla="*/ 495 h 2296"/>
                        <a:gd name="T10" fmla="*/ 1707 w 2534"/>
                        <a:gd name="T11" fmla="*/ 291 h 2296"/>
                        <a:gd name="T12" fmla="*/ 1505 w 2534"/>
                        <a:gd name="T13" fmla="*/ 284 h 2296"/>
                        <a:gd name="T14" fmla="*/ 1461 w 2534"/>
                        <a:gd name="T15" fmla="*/ 141 h 2296"/>
                        <a:gd name="T16" fmla="*/ 1320 w 2534"/>
                        <a:gd name="T17" fmla="*/ 0 h 2296"/>
                        <a:gd name="T18" fmla="*/ 1131 w 2534"/>
                        <a:gd name="T19" fmla="*/ 182 h 2296"/>
                        <a:gd name="T20" fmla="*/ 815 w 2534"/>
                        <a:gd name="T21" fmla="*/ 497 h 2296"/>
                        <a:gd name="T22" fmla="*/ 717 w 2534"/>
                        <a:gd name="T23" fmla="*/ 678 h 2296"/>
                        <a:gd name="T24" fmla="*/ 389 w 2534"/>
                        <a:gd name="T25" fmla="*/ 746 h 2296"/>
                        <a:gd name="T26" fmla="*/ 305 w 2534"/>
                        <a:gd name="T27" fmla="*/ 624 h 2296"/>
                        <a:gd name="T28" fmla="*/ 65 w 2534"/>
                        <a:gd name="T29" fmla="*/ 860 h 2296"/>
                        <a:gd name="T30" fmla="*/ 57 w 2534"/>
                        <a:gd name="T31" fmla="*/ 1064 h 2296"/>
                        <a:gd name="T32" fmla="*/ 195 w 2534"/>
                        <a:gd name="T33" fmla="*/ 1130 h 2296"/>
                        <a:gd name="T34" fmla="*/ 156 w 2534"/>
                        <a:gd name="T35" fmla="*/ 1315 h 2296"/>
                        <a:gd name="T36" fmla="*/ 315 w 2534"/>
                        <a:gd name="T37" fmla="*/ 1390 h 2296"/>
                        <a:gd name="T38" fmla="*/ 372 w 2534"/>
                        <a:gd name="T39" fmla="*/ 1643 h 2296"/>
                        <a:gd name="T40" fmla="*/ 657 w 2534"/>
                        <a:gd name="T41" fmla="*/ 1754 h 2296"/>
                        <a:gd name="T42" fmla="*/ 782 w 2534"/>
                        <a:gd name="T43" fmla="*/ 1802 h 2296"/>
                        <a:gd name="T44" fmla="*/ 948 w 2534"/>
                        <a:gd name="T45" fmla="*/ 1816 h 2296"/>
                        <a:gd name="T46" fmla="*/ 1034 w 2534"/>
                        <a:gd name="T47" fmla="*/ 1864 h 2296"/>
                        <a:gd name="T48" fmla="*/ 1062 w 2534"/>
                        <a:gd name="T49" fmla="*/ 1932 h 2296"/>
                        <a:gd name="T50" fmla="*/ 1092 w 2534"/>
                        <a:gd name="T51" fmla="*/ 2080 h 2296"/>
                        <a:gd name="T52" fmla="*/ 1194 w 2534"/>
                        <a:gd name="T53" fmla="*/ 2180 h 2296"/>
                        <a:gd name="T54" fmla="*/ 1366 w 2534"/>
                        <a:gd name="T55" fmla="*/ 2296 h 2296"/>
                        <a:gd name="T56" fmla="*/ 1396 w 2534"/>
                        <a:gd name="T57" fmla="*/ 2204 h 2296"/>
                        <a:gd name="T58" fmla="*/ 1512 w 2534"/>
                        <a:gd name="T59" fmla="*/ 2090 h 2296"/>
                        <a:gd name="T60" fmla="*/ 1520 w 2534"/>
                        <a:gd name="T61" fmla="*/ 1930 h 2296"/>
                        <a:gd name="T62" fmla="*/ 1460 w 2534"/>
                        <a:gd name="T63" fmla="*/ 1830 h 2296"/>
                        <a:gd name="T64" fmla="*/ 1544 w 2534"/>
                        <a:gd name="T65" fmla="*/ 1770 h 2296"/>
                        <a:gd name="T66" fmla="*/ 1536 w 2534"/>
                        <a:gd name="T67" fmla="*/ 1720 h 2296"/>
                        <a:gd name="T68" fmla="*/ 1628 w 2534"/>
                        <a:gd name="T69" fmla="*/ 1660 h 2296"/>
                        <a:gd name="T70" fmla="*/ 1688 w 2534"/>
                        <a:gd name="T71" fmla="*/ 1718 h 2296"/>
                        <a:gd name="T72" fmla="*/ 1624 w 2534"/>
                        <a:gd name="T73" fmla="*/ 1780 h 2296"/>
                        <a:gd name="T74" fmla="*/ 1792 w 2534"/>
                        <a:gd name="T75" fmla="*/ 1770 h 2296"/>
                        <a:gd name="T76" fmla="*/ 1770 w 2534"/>
                        <a:gd name="T77" fmla="*/ 1872 h 2296"/>
                        <a:gd name="T78" fmla="*/ 1770 w 2534"/>
                        <a:gd name="T79" fmla="*/ 1962 h 2296"/>
                        <a:gd name="T80" fmla="*/ 1692 w 2534"/>
                        <a:gd name="T81" fmla="*/ 2002 h 2296"/>
                        <a:gd name="T82" fmla="*/ 1764 w 2534"/>
                        <a:gd name="T83" fmla="*/ 2058 h 2296"/>
                        <a:gd name="T84" fmla="*/ 1890 w 2534"/>
                        <a:gd name="T85" fmla="*/ 1902 h 2296"/>
                        <a:gd name="T86" fmla="*/ 2006 w 2534"/>
                        <a:gd name="T87" fmla="*/ 1942 h 2296"/>
                        <a:gd name="T88" fmla="*/ 2090 w 2534"/>
                        <a:gd name="T89" fmla="*/ 1990 h 2296"/>
                        <a:gd name="T90" fmla="*/ 2068 w 2534"/>
                        <a:gd name="T91" fmla="*/ 1848 h 2296"/>
                        <a:gd name="T92" fmla="*/ 2114 w 2534"/>
                        <a:gd name="T93" fmla="*/ 1778 h 2296"/>
                        <a:gd name="T94" fmla="*/ 2108 w 2534"/>
                        <a:gd name="T95" fmla="*/ 1682 h 2296"/>
                        <a:gd name="T96" fmla="*/ 2240 w 2534"/>
                        <a:gd name="T97" fmla="*/ 1610 h 2296"/>
                        <a:gd name="T98" fmla="*/ 2078 w 2534"/>
                        <a:gd name="T99" fmla="*/ 1600 h 2296"/>
                        <a:gd name="T100" fmla="*/ 2004 w 2534"/>
                        <a:gd name="T101" fmla="*/ 1424 h 2296"/>
                        <a:gd name="T102" fmla="*/ 2308 w 2534"/>
                        <a:gd name="T103" fmla="*/ 1240 h 2296"/>
                        <a:gd name="T104" fmla="*/ 2534 w 2534"/>
                        <a:gd name="T105" fmla="*/ 1092 h 2296"/>
                        <a:gd name="T106" fmla="*/ 2372 w 2534"/>
                        <a:gd name="T107" fmla="*/ 1092 h 2296"/>
                        <a:gd name="T108" fmla="*/ 2356 w 2534"/>
                        <a:gd name="T109" fmla="*/ 1046 h 2296"/>
                        <a:gd name="T110" fmla="*/ 2320 w 2534"/>
                        <a:gd name="T111" fmla="*/ 946 h 229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</a:cxnLst>
                      <a:rect l="0" t="0" r="r" b="b"/>
                      <a:pathLst>
                        <a:path w="2534" h="2296">
                          <a:moveTo>
                            <a:pt x="2252" y="789"/>
                          </a:moveTo>
                          <a:lnTo>
                            <a:pt x="2163" y="795"/>
                          </a:lnTo>
                          <a:lnTo>
                            <a:pt x="2127" y="812"/>
                          </a:lnTo>
                          <a:lnTo>
                            <a:pt x="2144" y="683"/>
                          </a:lnTo>
                          <a:lnTo>
                            <a:pt x="2108" y="653"/>
                          </a:lnTo>
                          <a:lnTo>
                            <a:pt x="2024" y="729"/>
                          </a:lnTo>
                          <a:lnTo>
                            <a:pt x="1994" y="666"/>
                          </a:lnTo>
                          <a:lnTo>
                            <a:pt x="1974" y="666"/>
                          </a:lnTo>
                          <a:lnTo>
                            <a:pt x="1967" y="698"/>
                          </a:lnTo>
                          <a:lnTo>
                            <a:pt x="1925" y="695"/>
                          </a:lnTo>
                          <a:lnTo>
                            <a:pt x="1926" y="750"/>
                          </a:lnTo>
                          <a:lnTo>
                            <a:pt x="1907" y="780"/>
                          </a:lnTo>
                          <a:lnTo>
                            <a:pt x="1851" y="762"/>
                          </a:lnTo>
                          <a:lnTo>
                            <a:pt x="1877" y="627"/>
                          </a:lnTo>
                          <a:lnTo>
                            <a:pt x="1740" y="495"/>
                          </a:lnTo>
                          <a:lnTo>
                            <a:pt x="1754" y="393"/>
                          </a:lnTo>
                          <a:lnTo>
                            <a:pt x="1709" y="374"/>
                          </a:lnTo>
                          <a:lnTo>
                            <a:pt x="1707" y="291"/>
                          </a:lnTo>
                          <a:lnTo>
                            <a:pt x="1652" y="303"/>
                          </a:lnTo>
                          <a:lnTo>
                            <a:pt x="1569" y="276"/>
                          </a:lnTo>
                          <a:lnTo>
                            <a:pt x="1505" y="284"/>
                          </a:lnTo>
                          <a:lnTo>
                            <a:pt x="1469" y="249"/>
                          </a:lnTo>
                          <a:lnTo>
                            <a:pt x="1500" y="146"/>
                          </a:lnTo>
                          <a:lnTo>
                            <a:pt x="1461" y="141"/>
                          </a:lnTo>
                          <a:lnTo>
                            <a:pt x="1473" y="71"/>
                          </a:lnTo>
                          <a:lnTo>
                            <a:pt x="1307" y="56"/>
                          </a:lnTo>
                          <a:lnTo>
                            <a:pt x="1320" y="0"/>
                          </a:lnTo>
                          <a:lnTo>
                            <a:pt x="1277" y="26"/>
                          </a:lnTo>
                          <a:lnTo>
                            <a:pt x="1160" y="59"/>
                          </a:lnTo>
                          <a:lnTo>
                            <a:pt x="1131" y="182"/>
                          </a:lnTo>
                          <a:lnTo>
                            <a:pt x="1017" y="345"/>
                          </a:lnTo>
                          <a:lnTo>
                            <a:pt x="873" y="416"/>
                          </a:lnTo>
                          <a:lnTo>
                            <a:pt x="815" y="497"/>
                          </a:lnTo>
                          <a:lnTo>
                            <a:pt x="819" y="539"/>
                          </a:lnTo>
                          <a:lnTo>
                            <a:pt x="716" y="617"/>
                          </a:lnTo>
                          <a:lnTo>
                            <a:pt x="717" y="678"/>
                          </a:lnTo>
                          <a:lnTo>
                            <a:pt x="674" y="702"/>
                          </a:lnTo>
                          <a:lnTo>
                            <a:pt x="515" y="707"/>
                          </a:lnTo>
                          <a:lnTo>
                            <a:pt x="389" y="746"/>
                          </a:lnTo>
                          <a:lnTo>
                            <a:pt x="357" y="723"/>
                          </a:lnTo>
                          <a:lnTo>
                            <a:pt x="356" y="665"/>
                          </a:lnTo>
                          <a:lnTo>
                            <a:pt x="305" y="624"/>
                          </a:lnTo>
                          <a:lnTo>
                            <a:pt x="231" y="660"/>
                          </a:lnTo>
                          <a:lnTo>
                            <a:pt x="138" y="800"/>
                          </a:lnTo>
                          <a:lnTo>
                            <a:pt x="65" y="860"/>
                          </a:lnTo>
                          <a:lnTo>
                            <a:pt x="0" y="926"/>
                          </a:lnTo>
                          <a:lnTo>
                            <a:pt x="0" y="1018"/>
                          </a:lnTo>
                          <a:lnTo>
                            <a:pt x="57" y="1064"/>
                          </a:lnTo>
                          <a:lnTo>
                            <a:pt x="131" y="1093"/>
                          </a:lnTo>
                          <a:lnTo>
                            <a:pt x="182" y="1090"/>
                          </a:lnTo>
                          <a:lnTo>
                            <a:pt x="195" y="1130"/>
                          </a:lnTo>
                          <a:lnTo>
                            <a:pt x="176" y="1192"/>
                          </a:lnTo>
                          <a:lnTo>
                            <a:pt x="155" y="1256"/>
                          </a:lnTo>
                          <a:lnTo>
                            <a:pt x="156" y="1315"/>
                          </a:lnTo>
                          <a:lnTo>
                            <a:pt x="194" y="1376"/>
                          </a:lnTo>
                          <a:lnTo>
                            <a:pt x="287" y="1369"/>
                          </a:lnTo>
                          <a:lnTo>
                            <a:pt x="315" y="1390"/>
                          </a:lnTo>
                          <a:lnTo>
                            <a:pt x="306" y="1516"/>
                          </a:lnTo>
                          <a:lnTo>
                            <a:pt x="368" y="1571"/>
                          </a:lnTo>
                          <a:lnTo>
                            <a:pt x="372" y="1643"/>
                          </a:lnTo>
                          <a:lnTo>
                            <a:pt x="422" y="1729"/>
                          </a:lnTo>
                          <a:lnTo>
                            <a:pt x="543" y="1742"/>
                          </a:lnTo>
                          <a:lnTo>
                            <a:pt x="657" y="1754"/>
                          </a:lnTo>
                          <a:lnTo>
                            <a:pt x="669" y="1726"/>
                          </a:lnTo>
                          <a:lnTo>
                            <a:pt x="726" y="1776"/>
                          </a:lnTo>
                          <a:lnTo>
                            <a:pt x="782" y="1802"/>
                          </a:lnTo>
                          <a:lnTo>
                            <a:pt x="874" y="1852"/>
                          </a:lnTo>
                          <a:lnTo>
                            <a:pt x="938" y="1864"/>
                          </a:lnTo>
                          <a:lnTo>
                            <a:pt x="948" y="1816"/>
                          </a:lnTo>
                          <a:lnTo>
                            <a:pt x="994" y="1816"/>
                          </a:lnTo>
                          <a:lnTo>
                            <a:pt x="994" y="1848"/>
                          </a:lnTo>
                          <a:lnTo>
                            <a:pt x="1034" y="1864"/>
                          </a:lnTo>
                          <a:lnTo>
                            <a:pt x="984" y="1900"/>
                          </a:lnTo>
                          <a:lnTo>
                            <a:pt x="1020" y="1964"/>
                          </a:lnTo>
                          <a:lnTo>
                            <a:pt x="1062" y="1932"/>
                          </a:lnTo>
                          <a:lnTo>
                            <a:pt x="1090" y="2002"/>
                          </a:lnTo>
                          <a:lnTo>
                            <a:pt x="1058" y="2040"/>
                          </a:lnTo>
                          <a:lnTo>
                            <a:pt x="1092" y="2080"/>
                          </a:lnTo>
                          <a:lnTo>
                            <a:pt x="1144" y="2110"/>
                          </a:lnTo>
                          <a:lnTo>
                            <a:pt x="1140" y="2168"/>
                          </a:lnTo>
                          <a:lnTo>
                            <a:pt x="1194" y="2180"/>
                          </a:lnTo>
                          <a:lnTo>
                            <a:pt x="1266" y="2218"/>
                          </a:lnTo>
                          <a:lnTo>
                            <a:pt x="1286" y="2262"/>
                          </a:lnTo>
                          <a:lnTo>
                            <a:pt x="1366" y="2296"/>
                          </a:lnTo>
                          <a:lnTo>
                            <a:pt x="1466" y="2256"/>
                          </a:lnTo>
                          <a:lnTo>
                            <a:pt x="1414" y="2242"/>
                          </a:lnTo>
                          <a:lnTo>
                            <a:pt x="1396" y="2204"/>
                          </a:lnTo>
                          <a:lnTo>
                            <a:pt x="1422" y="2166"/>
                          </a:lnTo>
                          <a:lnTo>
                            <a:pt x="1492" y="2146"/>
                          </a:lnTo>
                          <a:lnTo>
                            <a:pt x="1512" y="2090"/>
                          </a:lnTo>
                          <a:lnTo>
                            <a:pt x="1514" y="2028"/>
                          </a:lnTo>
                          <a:lnTo>
                            <a:pt x="1536" y="2008"/>
                          </a:lnTo>
                          <a:lnTo>
                            <a:pt x="1520" y="1930"/>
                          </a:lnTo>
                          <a:lnTo>
                            <a:pt x="1468" y="1910"/>
                          </a:lnTo>
                          <a:lnTo>
                            <a:pt x="1488" y="1856"/>
                          </a:lnTo>
                          <a:lnTo>
                            <a:pt x="1460" y="1830"/>
                          </a:lnTo>
                          <a:lnTo>
                            <a:pt x="1486" y="1758"/>
                          </a:lnTo>
                          <a:lnTo>
                            <a:pt x="1532" y="1808"/>
                          </a:lnTo>
                          <a:lnTo>
                            <a:pt x="1544" y="1770"/>
                          </a:lnTo>
                          <a:lnTo>
                            <a:pt x="1498" y="1744"/>
                          </a:lnTo>
                          <a:lnTo>
                            <a:pt x="1500" y="1697"/>
                          </a:lnTo>
                          <a:lnTo>
                            <a:pt x="1536" y="1720"/>
                          </a:lnTo>
                          <a:lnTo>
                            <a:pt x="1580" y="1730"/>
                          </a:lnTo>
                          <a:lnTo>
                            <a:pt x="1590" y="1680"/>
                          </a:lnTo>
                          <a:lnTo>
                            <a:pt x="1628" y="1660"/>
                          </a:lnTo>
                          <a:lnTo>
                            <a:pt x="1660" y="1690"/>
                          </a:lnTo>
                          <a:lnTo>
                            <a:pt x="1656" y="1722"/>
                          </a:lnTo>
                          <a:lnTo>
                            <a:pt x="1688" y="1718"/>
                          </a:lnTo>
                          <a:lnTo>
                            <a:pt x="1662" y="1756"/>
                          </a:lnTo>
                          <a:lnTo>
                            <a:pt x="1608" y="1756"/>
                          </a:lnTo>
                          <a:lnTo>
                            <a:pt x="1624" y="1780"/>
                          </a:lnTo>
                          <a:lnTo>
                            <a:pt x="1686" y="1790"/>
                          </a:lnTo>
                          <a:lnTo>
                            <a:pt x="1736" y="1782"/>
                          </a:lnTo>
                          <a:lnTo>
                            <a:pt x="1792" y="1770"/>
                          </a:lnTo>
                          <a:lnTo>
                            <a:pt x="1808" y="1842"/>
                          </a:lnTo>
                          <a:lnTo>
                            <a:pt x="1802" y="1872"/>
                          </a:lnTo>
                          <a:lnTo>
                            <a:pt x="1770" y="1872"/>
                          </a:lnTo>
                          <a:lnTo>
                            <a:pt x="1760" y="1902"/>
                          </a:lnTo>
                          <a:lnTo>
                            <a:pt x="1792" y="1926"/>
                          </a:lnTo>
                          <a:lnTo>
                            <a:pt x="1770" y="1962"/>
                          </a:lnTo>
                          <a:lnTo>
                            <a:pt x="1788" y="1990"/>
                          </a:lnTo>
                          <a:lnTo>
                            <a:pt x="1760" y="2014"/>
                          </a:lnTo>
                          <a:lnTo>
                            <a:pt x="1692" y="2002"/>
                          </a:lnTo>
                          <a:lnTo>
                            <a:pt x="1700" y="2078"/>
                          </a:lnTo>
                          <a:lnTo>
                            <a:pt x="1736" y="2084"/>
                          </a:lnTo>
                          <a:lnTo>
                            <a:pt x="1764" y="2058"/>
                          </a:lnTo>
                          <a:lnTo>
                            <a:pt x="1820" y="2038"/>
                          </a:lnTo>
                          <a:lnTo>
                            <a:pt x="1870" y="1972"/>
                          </a:lnTo>
                          <a:lnTo>
                            <a:pt x="1890" y="1902"/>
                          </a:lnTo>
                          <a:lnTo>
                            <a:pt x="1928" y="1936"/>
                          </a:lnTo>
                          <a:lnTo>
                            <a:pt x="1982" y="1960"/>
                          </a:lnTo>
                          <a:lnTo>
                            <a:pt x="2006" y="1942"/>
                          </a:lnTo>
                          <a:lnTo>
                            <a:pt x="2042" y="1918"/>
                          </a:lnTo>
                          <a:lnTo>
                            <a:pt x="2038" y="1962"/>
                          </a:lnTo>
                          <a:lnTo>
                            <a:pt x="2090" y="1990"/>
                          </a:lnTo>
                          <a:lnTo>
                            <a:pt x="2114" y="1956"/>
                          </a:lnTo>
                          <a:lnTo>
                            <a:pt x="2084" y="1904"/>
                          </a:lnTo>
                          <a:lnTo>
                            <a:pt x="2068" y="1848"/>
                          </a:lnTo>
                          <a:lnTo>
                            <a:pt x="2130" y="1874"/>
                          </a:lnTo>
                          <a:lnTo>
                            <a:pt x="2160" y="1822"/>
                          </a:lnTo>
                          <a:lnTo>
                            <a:pt x="2114" y="1778"/>
                          </a:lnTo>
                          <a:lnTo>
                            <a:pt x="2064" y="1770"/>
                          </a:lnTo>
                          <a:lnTo>
                            <a:pt x="2080" y="1724"/>
                          </a:lnTo>
                          <a:lnTo>
                            <a:pt x="2108" y="1682"/>
                          </a:lnTo>
                          <a:lnTo>
                            <a:pt x="2180" y="1672"/>
                          </a:lnTo>
                          <a:lnTo>
                            <a:pt x="2248" y="1666"/>
                          </a:lnTo>
                          <a:lnTo>
                            <a:pt x="2240" y="1610"/>
                          </a:lnTo>
                          <a:lnTo>
                            <a:pt x="2222" y="1548"/>
                          </a:lnTo>
                          <a:lnTo>
                            <a:pt x="2188" y="1598"/>
                          </a:lnTo>
                          <a:lnTo>
                            <a:pt x="2078" y="1600"/>
                          </a:lnTo>
                          <a:lnTo>
                            <a:pt x="2022" y="1576"/>
                          </a:lnTo>
                          <a:lnTo>
                            <a:pt x="1996" y="1532"/>
                          </a:lnTo>
                          <a:lnTo>
                            <a:pt x="2004" y="1424"/>
                          </a:lnTo>
                          <a:lnTo>
                            <a:pt x="2072" y="1394"/>
                          </a:lnTo>
                          <a:lnTo>
                            <a:pt x="2144" y="1330"/>
                          </a:lnTo>
                          <a:lnTo>
                            <a:pt x="2308" y="1240"/>
                          </a:lnTo>
                          <a:lnTo>
                            <a:pt x="2402" y="1162"/>
                          </a:lnTo>
                          <a:lnTo>
                            <a:pt x="2456" y="1156"/>
                          </a:lnTo>
                          <a:lnTo>
                            <a:pt x="2534" y="1092"/>
                          </a:lnTo>
                          <a:lnTo>
                            <a:pt x="2472" y="1072"/>
                          </a:lnTo>
                          <a:lnTo>
                            <a:pt x="2444" y="1112"/>
                          </a:lnTo>
                          <a:lnTo>
                            <a:pt x="2372" y="1092"/>
                          </a:lnTo>
                          <a:lnTo>
                            <a:pt x="2290" y="1138"/>
                          </a:lnTo>
                          <a:lnTo>
                            <a:pt x="2268" y="1102"/>
                          </a:lnTo>
                          <a:lnTo>
                            <a:pt x="2356" y="1046"/>
                          </a:lnTo>
                          <a:lnTo>
                            <a:pt x="2294" y="1032"/>
                          </a:lnTo>
                          <a:lnTo>
                            <a:pt x="2336" y="998"/>
                          </a:lnTo>
                          <a:lnTo>
                            <a:pt x="2320" y="946"/>
                          </a:lnTo>
                          <a:lnTo>
                            <a:pt x="2274" y="928"/>
                          </a:lnTo>
                          <a:lnTo>
                            <a:pt x="2252" y="789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63" name="Freeform 62"/>
                    <p:cNvSpPr>
                      <a:spLocks/>
                    </p:cNvSpPr>
                    <p:nvPr/>
                  </p:nvSpPr>
                  <p:spPr bwMode="auto">
                    <a:xfrm>
                      <a:off x="1666" y="1867"/>
                      <a:ext cx="628" cy="506"/>
                    </a:xfrm>
                    <a:custGeom>
                      <a:avLst/>
                      <a:gdLst>
                        <a:gd name="T0" fmla="*/ 43 w 628"/>
                        <a:gd name="T1" fmla="*/ 66 h 506"/>
                        <a:gd name="T2" fmla="*/ 72 w 628"/>
                        <a:gd name="T3" fmla="*/ 28 h 506"/>
                        <a:gd name="T4" fmla="*/ 114 w 628"/>
                        <a:gd name="T5" fmla="*/ 31 h 506"/>
                        <a:gd name="T6" fmla="*/ 199 w 628"/>
                        <a:gd name="T7" fmla="*/ 33 h 506"/>
                        <a:gd name="T8" fmla="*/ 272 w 628"/>
                        <a:gd name="T9" fmla="*/ 51 h 506"/>
                        <a:gd name="T10" fmla="*/ 290 w 628"/>
                        <a:gd name="T11" fmla="*/ 23 h 506"/>
                        <a:gd name="T12" fmla="*/ 386 w 628"/>
                        <a:gd name="T13" fmla="*/ 0 h 506"/>
                        <a:gd name="T14" fmla="*/ 481 w 628"/>
                        <a:gd name="T15" fmla="*/ 31 h 506"/>
                        <a:gd name="T16" fmla="*/ 495 w 628"/>
                        <a:gd name="T17" fmla="*/ 60 h 506"/>
                        <a:gd name="T18" fmla="*/ 520 w 628"/>
                        <a:gd name="T19" fmla="*/ 107 h 506"/>
                        <a:gd name="T20" fmla="*/ 566 w 628"/>
                        <a:gd name="T21" fmla="*/ 154 h 506"/>
                        <a:gd name="T22" fmla="*/ 616 w 628"/>
                        <a:gd name="T23" fmla="*/ 210 h 506"/>
                        <a:gd name="T24" fmla="*/ 579 w 628"/>
                        <a:gd name="T25" fmla="*/ 261 h 506"/>
                        <a:gd name="T26" fmla="*/ 581 w 628"/>
                        <a:gd name="T27" fmla="*/ 281 h 506"/>
                        <a:gd name="T28" fmla="*/ 553 w 628"/>
                        <a:gd name="T29" fmla="*/ 329 h 506"/>
                        <a:gd name="T30" fmla="*/ 585 w 628"/>
                        <a:gd name="T31" fmla="*/ 359 h 506"/>
                        <a:gd name="T32" fmla="*/ 595 w 628"/>
                        <a:gd name="T33" fmla="*/ 372 h 506"/>
                        <a:gd name="T34" fmla="*/ 533 w 628"/>
                        <a:gd name="T35" fmla="*/ 407 h 506"/>
                        <a:gd name="T36" fmla="*/ 535 w 628"/>
                        <a:gd name="T37" fmla="*/ 466 h 506"/>
                        <a:gd name="T38" fmla="*/ 511 w 628"/>
                        <a:gd name="T39" fmla="*/ 484 h 506"/>
                        <a:gd name="T40" fmla="*/ 461 w 628"/>
                        <a:gd name="T41" fmla="*/ 468 h 506"/>
                        <a:gd name="T42" fmla="*/ 450 w 628"/>
                        <a:gd name="T43" fmla="*/ 392 h 506"/>
                        <a:gd name="T44" fmla="*/ 441 w 628"/>
                        <a:gd name="T45" fmla="*/ 357 h 506"/>
                        <a:gd name="T46" fmla="*/ 435 w 628"/>
                        <a:gd name="T47" fmla="*/ 336 h 506"/>
                        <a:gd name="T48" fmla="*/ 443 w 628"/>
                        <a:gd name="T49" fmla="*/ 299 h 506"/>
                        <a:gd name="T50" fmla="*/ 465 w 628"/>
                        <a:gd name="T51" fmla="*/ 286 h 506"/>
                        <a:gd name="T52" fmla="*/ 439 w 628"/>
                        <a:gd name="T53" fmla="*/ 266 h 506"/>
                        <a:gd name="T54" fmla="*/ 391 w 628"/>
                        <a:gd name="T55" fmla="*/ 288 h 506"/>
                        <a:gd name="T56" fmla="*/ 364 w 628"/>
                        <a:gd name="T57" fmla="*/ 316 h 506"/>
                        <a:gd name="T58" fmla="*/ 380 w 628"/>
                        <a:gd name="T59" fmla="*/ 372 h 506"/>
                        <a:gd name="T60" fmla="*/ 325 w 628"/>
                        <a:gd name="T61" fmla="*/ 403 h 506"/>
                        <a:gd name="T62" fmla="*/ 244 w 628"/>
                        <a:gd name="T63" fmla="*/ 423 h 506"/>
                        <a:gd name="T64" fmla="*/ 160 w 628"/>
                        <a:gd name="T65" fmla="*/ 374 h 506"/>
                        <a:gd name="T66" fmla="*/ 103 w 628"/>
                        <a:gd name="T67" fmla="*/ 309 h 506"/>
                        <a:gd name="T68" fmla="*/ 73 w 628"/>
                        <a:gd name="T69" fmla="*/ 242 h 506"/>
                        <a:gd name="T70" fmla="*/ 85 w 628"/>
                        <a:gd name="T71" fmla="*/ 262 h 506"/>
                        <a:gd name="T72" fmla="*/ 132 w 628"/>
                        <a:gd name="T73" fmla="*/ 253 h 506"/>
                        <a:gd name="T74" fmla="*/ 181 w 628"/>
                        <a:gd name="T75" fmla="*/ 240 h 506"/>
                        <a:gd name="T76" fmla="*/ 218 w 628"/>
                        <a:gd name="T77" fmla="*/ 203 h 506"/>
                        <a:gd name="T78" fmla="*/ 248 w 628"/>
                        <a:gd name="T79" fmla="*/ 175 h 506"/>
                        <a:gd name="T80" fmla="*/ 229 w 628"/>
                        <a:gd name="T81" fmla="*/ 159 h 506"/>
                        <a:gd name="T82" fmla="*/ 176 w 628"/>
                        <a:gd name="T83" fmla="*/ 175 h 506"/>
                        <a:gd name="T84" fmla="*/ 132 w 628"/>
                        <a:gd name="T85" fmla="*/ 192 h 506"/>
                        <a:gd name="T86" fmla="*/ 51 w 628"/>
                        <a:gd name="T87" fmla="*/ 163 h 506"/>
                        <a:gd name="T88" fmla="*/ 38 w 628"/>
                        <a:gd name="T89" fmla="*/ 124 h 506"/>
                        <a:gd name="T90" fmla="*/ 33 w 628"/>
                        <a:gd name="T91" fmla="*/ 94 h 506"/>
                        <a:gd name="T92" fmla="*/ 59 w 628"/>
                        <a:gd name="T93" fmla="*/ 62 h 506"/>
                        <a:gd name="T94" fmla="*/ 19 w 628"/>
                        <a:gd name="T95" fmla="*/ 80 h 50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</a:cxnLst>
                      <a:rect l="0" t="0" r="r" b="b"/>
                      <a:pathLst>
                        <a:path w="628" h="506">
                          <a:moveTo>
                            <a:pt x="5" y="94"/>
                          </a:moveTo>
                          <a:lnTo>
                            <a:pt x="0" y="62"/>
                          </a:lnTo>
                          <a:lnTo>
                            <a:pt x="17" y="58"/>
                          </a:lnTo>
                          <a:lnTo>
                            <a:pt x="43" y="66"/>
                          </a:lnTo>
                          <a:lnTo>
                            <a:pt x="49" y="61"/>
                          </a:lnTo>
                          <a:lnTo>
                            <a:pt x="57" y="60"/>
                          </a:lnTo>
                          <a:lnTo>
                            <a:pt x="60" y="29"/>
                          </a:lnTo>
                          <a:lnTo>
                            <a:pt x="72" y="28"/>
                          </a:lnTo>
                          <a:lnTo>
                            <a:pt x="86" y="39"/>
                          </a:lnTo>
                          <a:lnTo>
                            <a:pt x="95" y="33"/>
                          </a:lnTo>
                          <a:lnTo>
                            <a:pt x="102" y="40"/>
                          </a:lnTo>
                          <a:lnTo>
                            <a:pt x="114" y="31"/>
                          </a:lnTo>
                          <a:lnTo>
                            <a:pt x="143" y="34"/>
                          </a:lnTo>
                          <a:lnTo>
                            <a:pt x="160" y="50"/>
                          </a:lnTo>
                          <a:lnTo>
                            <a:pt x="191" y="49"/>
                          </a:lnTo>
                          <a:lnTo>
                            <a:pt x="199" y="33"/>
                          </a:lnTo>
                          <a:lnTo>
                            <a:pt x="229" y="29"/>
                          </a:lnTo>
                          <a:lnTo>
                            <a:pt x="246" y="23"/>
                          </a:lnTo>
                          <a:lnTo>
                            <a:pt x="245" y="47"/>
                          </a:lnTo>
                          <a:lnTo>
                            <a:pt x="272" y="51"/>
                          </a:lnTo>
                          <a:lnTo>
                            <a:pt x="283" y="38"/>
                          </a:lnTo>
                          <a:lnTo>
                            <a:pt x="297" y="38"/>
                          </a:lnTo>
                          <a:lnTo>
                            <a:pt x="299" y="29"/>
                          </a:lnTo>
                          <a:lnTo>
                            <a:pt x="290" y="23"/>
                          </a:lnTo>
                          <a:lnTo>
                            <a:pt x="288" y="7"/>
                          </a:lnTo>
                          <a:lnTo>
                            <a:pt x="301" y="1"/>
                          </a:lnTo>
                          <a:lnTo>
                            <a:pt x="382" y="8"/>
                          </a:lnTo>
                          <a:lnTo>
                            <a:pt x="386" y="0"/>
                          </a:lnTo>
                          <a:lnTo>
                            <a:pt x="407" y="18"/>
                          </a:lnTo>
                          <a:lnTo>
                            <a:pt x="456" y="43"/>
                          </a:lnTo>
                          <a:lnTo>
                            <a:pt x="478" y="47"/>
                          </a:lnTo>
                          <a:lnTo>
                            <a:pt x="481" y="31"/>
                          </a:lnTo>
                          <a:lnTo>
                            <a:pt x="498" y="31"/>
                          </a:lnTo>
                          <a:lnTo>
                            <a:pt x="498" y="41"/>
                          </a:lnTo>
                          <a:lnTo>
                            <a:pt x="511" y="47"/>
                          </a:lnTo>
                          <a:lnTo>
                            <a:pt x="495" y="60"/>
                          </a:lnTo>
                          <a:lnTo>
                            <a:pt x="506" y="79"/>
                          </a:lnTo>
                          <a:lnTo>
                            <a:pt x="520" y="71"/>
                          </a:lnTo>
                          <a:lnTo>
                            <a:pt x="530" y="94"/>
                          </a:lnTo>
                          <a:lnTo>
                            <a:pt x="520" y="107"/>
                          </a:lnTo>
                          <a:lnTo>
                            <a:pt x="532" y="122"/>
                          </a:lnTo>
                          <a:lnTo>
                            <a:pt x="548" y="130"/>
                          </a:lnTo>
                          <a:lnTo>
                            <a:pt x="548" y="151"/>
                          </a:lnTo>
                          <a:lnTo>
                            <a:pt x="566" y="154"/>
                          </a:lnTo>
                          <a:lnTo>
                            <a:pt x="592" y="168"/>
                          </a:lnTo>
                          <a:lnTo>
                            <a:pt x="598" y="184"/>
                          </a:lnTo>
                          <a:lnTo>
                            <a:pt x="612" y="188"/>
                          </a:lnTo>
                          <a:lnTo>
                            <a:pt x="616" y="210"/>
                          </a:lnTo>
                          <a:lnTo>
                            <a:pt x="628" y="218"/>
                          </a:lnTo>
                          <a:lnTo>
                            <a:pt x="611" y="243"/>
                          </a:lnTo>
                          <a:lnTo>
                            <a:pt x="578" y="251"/>
                          </a:lnTo>
                          <a:lnTo>
                            <a:pt x="579" y="261"/>
                          </a:lnTo>
                          <a:lnTo>
                            <a:pt x="597" y="261"/>
                          </a:lnTo>
                          <a:lnTo>
                            <a:pt x="603" y="269"/>
                          </a:lnTo>
                          <a:lnTo>
                            <a:pt x="582" y="273"/>
                          </a:lnTo>
                          <a:lnTo>
                            <a:pt x="581" y="281"/>
                          </a:lnTo>
                          <a:lnTo>
                            <a:pt x="591" y="290"/>
                          </a:lnTo>
                          <a:lnTo>
                            <a:pt x="589" y="306"/>
                          </a:lnTo>
                          <a:lnTo>
                            <a:pt x="577" y="318"/>
                          </a:lnTo>
                          <a:lnTo>
                            <a:pt x="553" y="329"/>
                          </a:lnTo>
                          <a:lnTo>
                            <a:pt x="559" y="349"/>
                          </a:lnTo>
                          <a:lnTo>
                            <a:pt x="550" y="359"/>
                          </a:lnTo>
                          <a:lnTo>
                            <a:pt x="563" y="368"/>
                          </a:lnTo>
                          <a:lnTo>
                            <a:pt x="585" y="359"/>
                          </a:lnTo>
                          <a:lnTo>
                            <a:pt x="594" y="364"/>
                          </a:lnTo>
                          <a:lnTo>
                            <a:pt x="606" y="355"/>
                          </a:lnTo>
                          <a:lnTo>
                            <a:pt x="610" y="360"/>
                          </a:lnTo>
                          <a:lnTo>
                            <a:pt x="595" y="372"/>
                          </a:lnTo>
                          <a:lnTo>
                            <a:pt x="581" y="373"/>
                          </a:lnTo>
                          <a:lnTo>
                            <a:pt x="548" y="397"/>
                          </a:lnTo>
                          <a:lnTo>
                            <a:pt x="526" y="401"/>
                          </a:lnTo>
                          <a:lnTo>
                            <a:pt x="533" y="407"/>
                          </a:lnTo>
                          <a:lnTo>
                            <a:pt x="546" y="412"/>
                          </a:lnTo>
                          <a:lnTo>
                            <a:pt x="559" y="427"/>
                          </a:lnTo>
                          <a:lnTo>
                            <a:pt x="557" y="448"/>
                          </a:lnTo>
                          <a:lnTo>
                            <a:pt x="535" y="466"/>
                          </a:lnTo>
                          <a:lnTo>
                            <a:pt x="509" y="448"/>
                          </a:lnTo>
                          <a:lnTo>
                            <a:pt x="506" y="457"/>
                          </a:lnTo>
                          <a:lnTo>
                            <a:pt x="517" y="469"/>
                          </a:lnTo>
                          <a:lnTo>
                            <a:pt x="511" y="484"/>
                          </a:lnTo>
                          <a:lnTo>
                            <a:pt x="484" y="488"/>
                          </a:lnTo>
                          <a:lnTo>
                            <a:pt x="487" y="506"/>
                          </a:lnTo>
                          <a:lnTo>
                            <a:pt x="450" y="496"/>
                          </a:lnTo>
                          <a:lnTo>
                            <a:pt x="461" y="468"/>
                          </a:lnTo>
                          <a:lnTo>
                            <a:pt x="463" y="433"/>
                          </a:lnTo>
                          <a:lnTo>
                            <a:pt x="451" y="427"/>
                          </a:lnTo>
                          <a:lnTo>
                            <a:pt x="456" y="415"/>
                          </a:lnTo>
                          <a:lnTo>
                            <a:pt x="450" y="392"/>
                          </a:lnTo>
                          <a:lnTo>
                            <a:pt x="434" y="384"/>
                          </a:lnTo>
                          <a:lnTo>
                            <a:pt x="452" y="375"/>
                          </a:lnTo>
                          <a:lnTo>
                            <a:pt x="452" y="366"/>
                          </a:lnTo>
                          <a:lnTo>
                            <a:pt x="441" y="357"/>
                          </a:lnTo>
                          <a:lnTo>
                            <a:pt x="456" y="355"/>
                          </a:lnTo>
                          <a:lnTo>
                            <a:pt x="463" y="343"/>
                          </a:lnTo>
                          <a:lnTo>
                            <a:pt x="457" y="336"/>
                          </a:lnTo>
                          <a:lnTo>
                            <a:pt x="435" y="336"/>
                          </a:lnTo>
                          <a:lnTo>
                            <a:pt x="439" y="322"/>
                          </a:lnTo>
                          <a:lnTo>
                            <a:pt x="452" y="320"/>
                          </a:lnTo>
                          <a:lnTo>
                            <a:pt x="454" y="306"/>
                          </a:lnTo>
                          <a:lnTo>
                            <a:pt x="443" y="299"/>
                          </a:lnTo>
                          <a:lnTo>
                            <a:pt x="440" y="303"/>
                          </a:lnTo>
                          <a:lnTo>
                            <a:pt x="441" y="286"/>
                          </a:lnTo>
                          <a:lnTo>
                            <a:pt x="450" y="292"/>
                          </a:lnTo>
                          <a:lnTo>
                            <a:pt x="465" y="286"/>
                          </a:lnTo>
                          <a:lnTo>
                            <a:pt x="472" y="277"/>
                          </a:lnTo>
                          <a:lnTo>
                            <a:pt x="459" y="268"/>
                          </a:lnTo>
                          <a:lnTo>
                            <a:pt x="449" y="273"/>
                          </a:lnTo>
                          <a:lnTo>
                            <a:pt x="439" y="266"/>
                          </a:lnTo>
                          <a:lnTo>
                            <a:pt x="419" y="273"/>
                          </a:lnTo>
                          <a:lnTo>
                            <a:pt x="421" y="264"/>
                          </a:lnTo>
                          <a:lnTo>
                            <a:pt x="403" y="264"/>
                          </a:lnTo>
                          <a:lnTo>
                            <a:pt x="391" y="288"/>
                          </a:lnTo>
                          <a:lnTo>
                            <a:pt x="378" y="303"/>
                          </a:lnTo>
                          <a:lnTo>
                            <a:pt x="380" y="316"/>
                          </a:lnTo>
                          <a:lnTo>
                            <a:pt x="372" y="309"/>
                          </a:lnTo>
                          <a:lnTo>
                            <a:pt x="364" y="316"/>
                          </a:lnTo>
                          <a:lnTo>
                            <a:pt x="373" y="325"/>
                          </a:lnTo>
                          <a:lnTo>
                            <a:pt x="388" y="335"/>
                          </a:lnTo>
                          <a:lnTo>
                            <a:pt x="393" y="357"/>
                          </a:lnTo>
                          <a:lnTo>
                            <a:pt x="380" y="372"/>
                          </a:lnTo>
                          <a:lnTo>
                            <a:pt x="371" y="375"/>
                          </a:lnTo>
                          <a:lnTo>
                            <a:pt x="371" y="388"/>
                          </a:lnTo>
                          <a:lnTo>
                            <a:pt x="347" y="398"/>
                          </a:lnTo>
                          <a:lnTo>
                            <a:pt x="325" y="403"/>
                          </a:lnTo>
                          <a:lnTo>
                            <a:pt x="315" y="400"/>
                          </a:lnTo>
                          <a:lnTo>
                            <a:pt x="303" y="417"/>
                          </a:lnTo>
                          <a:lnTo>
                            <a:pt x="259" y="433"/>
                          </a:lnTo>
                          <a:lnTo>
                            <a:pt x="244" y="423"/>
                          </a:lnTo>
                          <a:lnTo>
                            <a:pt x="235" y="429"/>
                          </a:lnTo>
                          <a:lnTo>
                            <a:pt x="201" y="416"/>
                          </a:lnTo>
                          <a:lnTo>
                            <a:pt x="177" y="392"/>
                          </a:lnTo>
                          <a:lnTo>
                            <a:pt x="160" y="374"/>
                          </a:lnTo>
                          <a:lnTo>
                            <a:pt x="145" y="349"/>
                          </a:lnTo>
                          <a:lnTo>
                            <a:pt x="134" y="336"/>
                          </a:lnTo>
                          <a:lnTo>
                            <a:pt x="119" y="320"/>
                          </a:lnTo>
                          <a:lnTo>
                            <a:pt x="103" y="309"/>
                          </a:lnTo>
                          <a:lnTo>
                            <a:pt x="82" y="283"/>
                          </a:lnTo>
                          <a:lnTo>
                            <a:pt x="70" y="261"/>
                          </a:lnTo>
                          <a:lnTo>
                            <a:pt x="62" y="245"/>
                          </a:lnTo>
                          <a:lnTo>
                            <a:pt x="73" y="242"/>
                          </a:lnTo>
                          <a:lnTo>
                            <a:pt x="87" y="236"/>
                          </a:lnTo>
                          <a:lnTo>
                            <a:pt x="80" y="246"/>
                          </a:lnTo>
                          <a:lnTo>
                            <a:pt x="74" y="253"/>
                          </a:lnTo>
                          <a:lnTo>
                            <a:pt x="85" y="262"/>
                          </a:lnTo>
                          <a:lnTo>
                            <a:pt x="97" y="255"/>
                          </a:lnTo>
                          <a:lnTo>
                            <a:pt x="117" y="260"/>
                          </a:lnTo>
                          <a:lnTo>
                            <a:pt x="121" y="250"/>
                          </a:lnTo>
                          <a:lnTo>
                            <a:pt x="132" y="253"/>
                          </a:lnTo>
                          <a:lnTo>
                            <a:pt x="139" y="244"/>
                          </a:lnTo>
                          <a:lnTo>
                            <a:pt x="147" y="249"/>
                          </a:lnTo>
                          <a:lnTo>
                            <a:pt x="170" y="233"/>
                          </a:lnTo>
                          <a:lnTo>
                            <a:pt x="181" y="240"/>
                          </a:lnTo>
                          <a:lnTo>
                            <a:pt x="189" y="227"/>
                          </a:lnTo>
                          <a:lnTo>
                            <a:pt x="205" y="211"/>
                          </a:lnTo>
                          <a:lnTo>
                            <a:pt x="205" y="203"/>
                          </a:lnTo>
                          <a:lnTo>
                            <a:pt x="218" y="203"/>
                          </a:lnTo>
                          <a:lnTo>
                            <a:pt x="231" y="192"/>
                          </a:lnTo>
                          <a:lnTo>
                            <a:pt x="228" y="184"/>
                          </a:lnTo>
                          <a:lnTo>
                            <a:pt x="242" y="174"/>
                          </a:lnTo>
                          <a:lnTo>
                            <a:pt x="248" y="175"/>
                          </a:lnTo>
                          <a:lnTo>
                            <a:pt x="255" y="168"/>
                          </a:lnTo>
                          <a:lnTo>
                            <a:pt x="254" y="157"/>
                          </a:lnTo>
                          <a:lnTo>
                            <a:pt x="239" y="151"/>
                          </a:lnTo>
                          <a:lnTo>
                            <a:pt x="229" y="159"/>
                          </a:lnTo>
                          <a:lnTo>
                            <a:pt x="207" y="151"/>
                          </a:lnTo>
                          <a:lnTo>
                            <a:pt x="189" y="164"/>
                          </a:lnTo>
                          <a:lnTo>
                            <a:pt x="187" y="178"/>
                          </a:lnTo>
                          <a:lnTo>
                            <a:pt x="176" y="175"/>
                          </a:lnTo>
                          <a:lnTo>
                            <a:pt x="162" y="188"/>
                          </a:lnTo>
                          <a:lnTo>
                            <a:pt x="143" y="189"/>
                          </a:lnTo>
                          <a:lnTo>
                            <a:pt x="137" y="199"/>
                          </a:lnTo>
                          <a:lnTo>
                            <a:pt x="132" y="192"/>
                          </a:lnTo>
                          <a:lnTo>
                            <a:pt x="93" y="191"/>
                          </a:lnTo>
                          <a:lnTo>
                            <a:pt x="72" y="175"/>
                          </a:lnTo>
                          <a:lnTo>
                            <a:pt x="58" y="161"/>
                          </a:lnTo>
                          <a:lnTo>
                            <a:pt x="51" y="163"/>
                          </a:lnTo>
                          <a:lnTo>
                            <a:pt x="51" y="156"/>
                          </a:lnTo>
                          <a:lnTo>
                            <a:pt x="35" y="147"/>
                          </a:lnTo>
                          <a:lnTo>
                            <a:pt x="41" y="132"/>
                          </a:lnTo>
                          <a:lnTo>
                            <a:pt x="38" y="124"/>
                          </a:lnTo>
                          <a:lnTo>
                            <a:pt x="22" y="121"/>
                          </a:lnTo>
                          <a:lnTo>
                            <a:pt x="28" y="112"/>
                          </a:lnTo>
                          <a:lnTo>
                            <a:pt x="19" y="103"/>
                          </a:lnTo>
                          <a:lnTo>
                            <a:pt x="33" y="94"/>
                          </a:lnTo>
                          <a:lnTo>
                            <a:pt x="43" y="84"/>
                          </a:lnTo>
                          <a:lnTo>
                            <a:pt x="63" y="81"/>
                          </a:lnTo>
                          <a:lnTo>
                            <a:pt x="63" y="70"/>
                          </a:lnTo>
                          <a:lnTo>
                            <a:pt x="59" y="62"/>
                          </a:lnTo>
                          <a:lnTo>
                            <a:pt x="48" y="67"/>
                          </a:lnTo>
                          <a:lnTo>
                            <a:pt x="33" y="72"/>
                          </a:lnTo>
                          <a:lnTo>
                            <a:pt x="30" y="79"/>
                          </a:lnTo>
                          <a:lnTo>
                            <a:pt x="19" y="80"/>
                          </a:lnTo>
                          <a:lnTo>
                            <a:pt x="10" y="93"/>
                          </a:lnTo>
                          <a:lnTo>
                            <a:pt x="5" y="94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64" name="Freeform 63"/>
                    <p:cNvSpPr>
                      <a:spLocks/>
                    </p:cNvSpPr>
                    <p:nvPr/>
                  </p:nvSpPr>
                  <p:spPr bwMode="auto">
                    <a:xfrm>
                      <a:off x="2096" y="2174"/>
                      <a:ext cx="855" cy="715"/>
                    </a:xfrm>
                    <a:custGeom>
                      <a:avLst/>
                      <a:gdLst>
                        <a:gd name="T0" fmla="*/ 21 w 2490"/>
                        <a:gd name="T1" fmla="*/ 795 h 2088"/>
                        <a:gd name="T2" fmla="*/ 75 w 2490"/>
                        <a:gd name="T3" fmla="*/ 909 h 2088"/>
                        <a:gd name="T4" fmla="*/ 66 w 2490"/>
                        <a:gd name="T5" fmla="*/ 1056 h 2088"/>
                        <a:gd name="T6" fmla="*/ 63 w 2490"/>
                        <a:gd name="T7" fmla="*/ 1176 h 2088"/>
                        <a:gd name="T8" fmla="*/ 93 w 2490"/>
                        <a:gd name="T9" fmla="*/ 1329 h 2088"/>
                        <a:gd name="T10" fmla="*/ 129 w 2490"/>
                        <a:gd name="T11" fmla="*/ 1509 h 2088"/>
                        <a:gd name="T12" fmla="*/ 162 w 2490"/>
                        <a:gd name="T13" fmla="*/ 1779 h 2088"/>
                        <a:gd name="T14" fmla="*/ 234 w 2490"/>
                        <a:gd name="T15" fmla="*/ 1983 h 2088"/>
                        <a:gd name="T16" fmla="*/ 348 w 2490"/>
                        <a:gd name="T17" fmla="*/ 2088 h 2088"/>
                        <a:gd name="T18" fmla="*/ 471 w 2490"/>
                        <a:gd name="T19" fmla="*/ 1944 h 2088"/>
                        <a:gd name="T20" fmla="*/ 438 w 2490"/>
                        <a:gd name="T21" fmla="*/ 1776 h 2088"/>
                        <a:gd name="T22" fmla="*/ 636 w 2490"/>
                        <a:gd name="T23" fmla="*/ 1719 h 2088"/>
                        <a:gd name="T24" fmla="*/ 774 w 2490"/>
                        <a:gd name="T25" fmla="*/ 1665 h 2088"/>
                        <a:gd name="T26" fmla="*/ 864 w 2490"/>
                        <a:gd name="T27" fmla="*/ 1497 h 2088"/>
                        <a:gd name="T28" fmla="*/ 1104 w 2490"/>
                        <a:gd name="T29" fmla="*/ 1533 h 2088"/>
                        <a:gd name="T30" fmla="*/ 1221 w 2490"/>
                        <a:gd name="T31" fmla="*/ 1437 h 2088"/>
                        <a:gd name="T32" fmla="*/ 1257 w 2490"/>
                        <a:gd name="T33" fmla="*/ 1284 h 2088"/>
                        <a:gd name="T34" fmla="*/ 1413 w 2490"/>
                        <a:gd name="T35" fmla="*/ 1212 h 2088"/>
                        <a:gd name="T36" fmla="*/ 1470 w 2490"/>
                        <a:gd name="T37" fmla="*/ 1161 h 2088"/>
                        <a:gd name="T38" fmla="*/ 1572 w 2490"/>
                        <a:gd name="T39" fmla="*/ 939 h 2088"/>
                        <a:gd name="T40" fmla="*/ 1665 w 2490"/>
                        <a:gd name="T41" fmla="*/ 918 h 2088"/>
                        <a:gd name="T42" fmla="*/ 1725 w 2490"/>
                        <a:gd name="T43" fmla="*/ 777 h 2088"/>
                        <a:gd name="T44" fmla="*/ 1842 w 2490"/>
                        <a:gd name="T45" fmla="*/ 768 h 2088"/>
                        <a:gd name="T46" fmla="*/ 2022 w 2490"/>
                        <a:gd name="T47" fmla="*/ 834 h 2088"/>
                        <a:gd name="T48" fmla="*/ 2214 w 2490"/>
                        <a:gd name="T49" fmla="*/ 957 h 2088"/>
                        <a:gd name="T50" fmla="*/ 2190 w 2490"/>
                        <a:gd name="T51" fmla="*/ 1083 h 2088"/>
                        <a:gd name="T52" fmla="*/ 2358 w 2490"/>
                        <a:gd name="T53" fmla="*/ 930 h 2088"/>
                        <a:gd name="T54" fmla="*/ 2490 w 2490"/>
                        <a:gd name="T55" fmla="*/ 855 h 2088"/>
                        <a:gd name="T56" fmla="*/ 2349 w 2490"/>
                        <a:gd name="T57" fmla="*/ 639 h 2088"/>
                        <a:gd name="T58" fmla="*/ 2388 w 2490"/>
                        <a:gd name="T59" fmla="*/ 396 h 2088"/>
                        <a:gd name="T60" fmla="*/ 2352 w 2490"/>
                        <a:gd name="T61" fmla="*/ 240 h 2088"/>
                        <a:gd name="T62" fmla="*/ 2166 w 2490"/>
                        <a:gd name="T63" fmla="*/ 195 h 2088"/>
                        <a:gd name="T64" fmla="*/ 1992 w 2490"/>
                        <a:gd name="T65" fmla="*/ 141 h 2088"/>
                        <a:gd name="T66" fmla="*/ 1764 w 2490"/>
                        <a:gd name="T67" fmla="*/ 198 h 2088"/>
                        <a:gd name="T68" fmla="*/ 1509 w 2490"/>
                        <a:gd name="T69" fmla="*/ 246 h 2088"/>
                        <a:gd name="T70" fmla="*/ 1488 w 2490"/>
                        <a:gd name="T71" fmla="*/ 141 h 2088"/>
                        <a:gd name="T72" fmla="*/ 1254 w 2490"/>
                        <a:gd name="T73" fmla="*/ 156 h 2088"/>
                        <a:gd name="T74" fmla="*/ 1218 w 2490"/>
                        <a:gd name="T75" fmla="*/ 279 h 2088"/>
                        <a:gd name="T76" fmla="*/ 1071 w 2490"/>
                        <a:gd name="T77" fmla="*/ 330 h 2088"/>
                        <a:gd name="T78" fmla="*/ 858 w 2490"/>
                        <a:gd name="T79" fmla="*/ 207 h 2088"/>
                        <a:gd name="T80" fmla="*/ 657 w 2490"/>
                        <a:gd name="T81" fmla="*/ 135 h 2088"/>
                        <a:gd name="T82" fmla="*/ 555 w 2490"/>
                        <a:gd name="T83" fmla="*/ 0 h 2088"/>
                        <a:gd name="T84" fmla="*/ 373 w 2490"/>
                        <a:gd name="T85" fmla="*/ 122 h 2088"/>
                        <a:gd name="T86" fmla="*/ 474 w 2490"/>
                        <a:gd name="T87" fmla="*/ 164 h 2088"/>
                        <a:gd name="T88" fmla="*/ 439 w 2490"/>
                        <a:gd name="T89" fmla="*/ 191 h 2088"/>
                        <a:gd name="T90" fmla="*/ 342 w 2490"/>
                        <a:gd name="T91" fmla="*/ 306 h 2088"/>
                        <a:gd name="T92" fmla="*/ 228 w 2490"/>
                        <a:gd name="T93" fmla="*/ 408 h 2088"/>
                        <a:gd name="T94" fmla="*/ 228 w 2490"/>
                        <a:gd name="T95" fmla="*/ 563 h 208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</a:cxnLst>
                      <a:rect l="0" t="0" r="r" b="b"/>
                      <a:pathLst>
                        <a:path w="2490" h="2088">
                          <a:moveTo>
                            <a:pt x="60" y="552"/>
                          </a:moveTo>
                          <a:lnTo>
                            <a:pt x="3" y="630"/>
                          </a:lnTo>
                          <a:lnTo>
                            <a:pt x="0" y="735"/>
                          </a:lnTo>
                          <a:lnTo>
                            <a:pt x="21" y="795"/>
                          </a:lnTo>
                          <a:lnTo>
                            <a:pt x="54" y="837"/>
                          </a:lnTo>
                          <a:lnTo>
                            <a:pt x="24" y="876"/>
                          </a:lnTo>
                          <a:lnTo>
                            <a:pt x="36" y="963"/>
                          </a:lnTo>
                          <a:lnTo>
                            <a:pt x="75" y="909"/>
                          </a:lnTo>
                          <a:lnTo>
                            <a:pt x="87" y="963"/>
                          </a:lnTo>
                          <a:lnTo>
                            <a:pt x="63" y="996"/>
                          </a:lnTo>
                          <a:lnTo>
                            <a:pt x="87" y="1014"/>
                          </a:lnTo>
                          <a:lnTo>
                            <a:pt x="66" y="1056"/>
                          </a:lnTo>
                          <a:lnTo>
                            <a:pt x="45" y="1041"/>
                          </a:lnTo>
                          <a:lnTo>
                            <a:pt x="36" y="1089"/>
                          </a:lnTo>
                          <a:lnTo>
                            <a:pt x="66" y="1113"/>
                          </a:lnTo>
                          <a:lnTo>
                            <a:pt x="63" y="1176"/>
                          </a:lnTo>
                          <a:lnTo>
                            <a:pt x="72" y="1206"/>
                          </a:lnTo>
                          <a:lnTo>
                            <a:pt x="84" y="1281"/>
                          </a:lnTo>
                          <a:lnTo>
                            <a:pt x="111" y="1281"/>
                          </a:lnTo>
                          <a:lnTo>
                            <a:pt x="93" y="1329"/>
                          </a:lnTo>
                          <a:lnTo>
                            <a:pt x="114" y="1407"/>
                          </a:lnTo>
                          <a:lnTo>
                            <a:pt x="138" y="1410"/>
                          </a:lnTo>
                          <a:lnTo>
                            <a:pt x="117" y="1479"/>
                          </a:lnTo>
                          <a:lnTo>
                            <a:pt x="129" y="1509"/>
                          </a:lnTo>
                          <a:lnTo>
                            <a:pt x="123" y="1533"/>
                          </a:lnTo>
                          <a:lnTo>
                            <a:pt x="147" y="1593"/>
                          </a:lnTo>
                          <a:lnTo>
                            <a:pt x="150" y="1707"/>
                          </a:lnTo>
                          <a:lnTo>
                            <a:pt x="162" y="1779"/>
                          </a:lnTo>
                          <a:lnTo>
                            <a:pt x="147" y="1791"/>
                          </a:lnTo>
                          <a:lnTo>
                            <a:pt x="192" y="1893"/>
                          </a:lnTo>
                          <a:lnTo>
                            <a:pt x="189" y="1938"/>
                          </a:lnTo>
                          <a:lnTo>
                            <a:pt x="234" y="1983"/>
                          </a:lnTo>
                          <a:lnTo>
                            <a:pt x="243" y="2046"/>
                          </a:lnTo>
                          <a:lnTo>
                            <a:pt x="270" y="2019"/>
                          </a:lnTo>
                          <a:lnTo>
                            <a:pt x="306" y="2064"/>
                          </a:lnTo>
                          <a:lnTo>
                            <a:pt x="348" y="2088"/>
                          </a:lnTo>
                          <a:lnTo>
                            <a:pt x="363" y="2070"/>
                          </a:lnTo>
                          <a:lnTo>
                            <a:pt x="387" y="2025"/>
                          </a:lnTo>
                          <a:lnTo>
                            <a:pt x="441" y="2043"/>
                          </a:lnTo>
                          <a:lnTo>
                            <a:pt x="471" y="1944"/>
                          </a:lnTo>
                          <a:lnTo>
                            <a:pt x="495" y="1920"/>
                          </a:lnTo>
                          <a:lnTo>
                            <a:pt x="468" y="1872"/>
                          </a:lnTo>
                          <a:lnTo>
                            <a:pt x="432" y="1863"/>
                          </a:lnTo>
                          <a:lnTo>
                            <a:pt x="438" y="1776"/>
                          </a:lnTo>
                          <a:lnTo>
                            <a:pt x="495" y="1770"/>
                          </a:lnTo>
                          <a:lnTo>
                            <a:pt x="558" y="1767"/>
                          </a:lnTo>
                          <a:lnTo>
                            <a:pt x="564" y="1716"/>
                          </a:lnTo>
                          <a:lnTo>
                            <a:pt x="636" y="1719"/>
                          </a:lnTo>
                          <a:lnTo>
                            <a:pt x="633" y="1650"/>
                          </a:lnTo>
                          <a:lnTo>
                            <a:pt x="669" y="1647"/>
                          </a:lnTo>
                          <a:lnTo>
                            <a:pt x="735" y="1695"/>
                          </a:lnTo>
                          <a:lnTo>
                            <a:pt x="774" y="1665"/>
                          </a:lnTo>
                          <a:lnTo>
                            <a:pt x="876" y="1662"/>
                          </a:lnTo>
                          <a:lnTo>
                            <a:pt x="882" y="1617"/>
                          </a:lnTo>
                          <a:lnTo>
                            <a:pt x="864" y="1554"/>
                          </a:lnTo>
                          <a:lnTo>
                            <a:pt x="864" y="1497"/>
                          </a:lnTo>
                          <a:lnTo>
                            <a:pt x="966" y="1557"/>
                          </a:lnTo>
                          <a:lnTo>
                            <a:pt x="1056" y="1533"/>
                          </a:lnTo>
                          <a:lnTo>
                            <a:pt x="1095" y="1563"/>
                          </a:lnTo>
                          <a:lnTo>
                            <a:pt x="1104" y="1533"/>
                          </a:lnTo>
                          <a:lnTo>
                            <a:pt x="1080" y="1503"/>
                          </a:lnTo>
                          <a:lnTo>
                            <a:pt x="1110" y="1449"/>
                          </a:lnTo>
                          <a:lnTo>
                            <a:pt x="1143" y="1419"/>
                          </a:lnTo>
                          <a:lnTo>
                            <a:pt x="1221" y="1437"/>
                          </a:lnTo>
                          <a:lnTo>
                            <a:pt x="1215" y="1377"/>
                          </a:lnTo>
                          <a:lnTo>
                            <a:pt x="1254" y="1377"/>
                          </a:lnTo>
                          <a:lnTo>
                            <a:pt x="1275" y="1317"/>
                          </a:lnTo>
                          <a:lnTo>
                            <a:pt x="1257" y="1284"/>
                          </a:lnTo>
                          <a:lnTo>
                            <a:pt x="1332" y="1287"/>
                          </a:lnTo>
                          <a:lnTo>
                            <a:pt x="1362" y="1248"/>
                          </a:lnTo>
                          <a:lnTo>
                            <a:pt x="1359" y="1212"/>
                          </a:lnTo>
                          <a:lnTo>
                            <a:pt x="1413" y="1212"/>
                          </a:lnTo>
                          <a:lnTo>
                            <a:pt x="1413" y="1251"/>
                          </a:lnTo>
                          <a:lnTo>
                            <a:pt x="1473" y="1239"/>
                          </a:lnTo>
                          <a:lnTo>
                            <a:pt x="1458" y="1221"/>
                          </a:lnTo>
                          <a:lnTo>
                            <a:pt x="1470" y="1161"/>
                          </a:lnTo>
                          <a:lnTo>
                            <a:pt x="1521" y="1161"/>
                          </a:lnTo>
                          <a:lnTo>
                            <a:pt x="1560" y="1071"/>
                          </a:lnTo>
                          <a:lnTo>
                            <a:pt x="1530" y="1008"/>
                          </a:lnTo>
                          <a:lnTo>
                            <a:pt x="1572" y="939"/>
                          </a:lnTo>
                          <a:lnTo>
                            <a:pt x="1560" y="909"/>
                          </a:lnTo>
                          <a:lnTo>
                            <a:pt x="1617" y="912"/>
                          </a:lnTo>
                          <a:lnTo>
                            <a:pt x="1662" y="954"/>
                          </a:lnTo>
                          <a:lnTo>
                            <a:pt x="1665" y="918"/>
                          </a:lnTo>
                          <a:lnTo>
                            <a:pt x="1641" y="894"/>
                          </a:lnTo>
                          <a:lnTo>
                            <a:pt x="1713" y="858"/>
                          </a:lnTo>
                          <a:lnTo>
                            <a:pt x="1689" y="807"/>
                          </a:lnTo>
                          <a:lnTo>
                            <a:pt x="1725" y="777"/>
                          </a:lnTo>
                          <a:lnTo>
                            <a:pt x="1689" y="735"/>
                          </a:lnTo>
                          <a:lnTo>
                            <a:pt x="1710" y="711"/>
                          </a:lnTo>
                          <a:lnTo>
                            <a:pt x="1758" y="756"/>
                          </a:lnTo>
                          <a:lnTo>
                            <a:pt x="1842" y="768"/>
                          </a:lnTo>
                          <a:lnTo>
                            <a:pt x="1899" y="843"/>
                          </a:lnTo>
                          <a:lnTo>
                            <a:pt x="1989" y="870"/>
                          </a:lnTo>
                          <a:lnTo>
                            <a:pt x="1992" y="834"/>
                          </a:lnTo>
                          <a:lnTo>
                            <a:pt x="2022" y="834"/>
                          </a:lnTo>
                          <a:lnTo>
                            <a:pt x="2076" y="858"/>
                          </a:lnTo>
                          <a:lnTo>
                            <a:pt x="2142" y="825"/>
                          </a:lnTo>
                          <a:lnTo>
                            <a:pt x="2214" y="867"/>
                          </a:lnTo>
                          <a:lnTo>
                            <a:pt x="2214" y="957"/>
                          </a:lnTo>
                          <a:lnTo>
                            <a:pt x="2184" y="999"/>
                          </a:lnTo>
                          <a:lnTo>
                            <a:pt x="2217" y="1023"/>
                          </a:lnTo>
                          <a:lnTo>
                            <a:pt x="2211" y="1056"/>
                          </a:lnTo>
                          <a:lnTo>
                            <a:pt x="2190" y="1083"/>
                          </a:lnTo>
                          <a:lnTo>
                            <a:pt x="2274" y="1125"/>
                          </a:lnTo>
                          <a:lnTo>
                            <a:pt x="2322" y="1077"/>
                          </a:lnTo>
                          <a:lnTo>
                            <a:pt x="2298" y="1032"/>
                          </a:lnTo>
                          <a:lnTo>
                            <a:pt x="2358" y="930"/>
                          </a:lnTo>
                          <a:lnTo>
                            <a:pt x="2406" y="900"/>
                          </a:lnTo>
                          <a:lnTo>
                            <a:pt x="2433" y="936"/>
                          </a:lnTo>
                          <a:lnTo>
                            <a:pt x="2487" y="903"/>
                          </a:lnTo>
                          <a:lnTo>
                            <a:pt x="2490" y="855"/>
                          </a:lnTo>
                          <a:lnTo>
                            <a:pt x="2358" y="747"/>
                          </a:lnTo>
                          <a:lnTo>
                            <a:pt x="2391" y="702"/>
                          </a:lnTo>
                          <a:lnTo>
                            <a:pt x="2391" y="657"/>
                          </a:lnTo>
                          <a:lnTo>
                            <a:pt x="2349" y="639"/>
                          </a:lnTo>
                          <a:lnTo>
                            <a:pt x="2352" y="594"/>
                          </a:lnTo>
                          <a:lnTo>
                            <a:pt x="2409" y="588"/>
                          </a:lnTo>
                          <a:lnTo>
                            <a:pt x="2391" y="483"/>
                          </a:lnTo>
                          <a:lnTo>
                            <a:pt x="2388" y="396"/>
                          </a:lnTo>
                          <a:lnTo>
                            <a:pt x="2355" y="372"/>
                          </a:lnTo>
                          <a:lnTo>
                            <a:pt x="2355" y="318"/>
                          </a:lnTo>
                          <a:lnTo>
                            <a:pt x="2424" y="267"/>
                          </a:lnTo>
                          <a:lnTo>
                            <a:pt x="2352" y="240"/>
                          </a:lnTo>
                          <a:lnTo>
                            <a:pt x="2298" y="171"/>
                          </a:lnTo>
                          <a:lnTo>
                            <a:pt x="2256" y="168"/>
                          </a:lnTo>
                          <a:lnTo>
                            <a:pt x="2238" y="201"/>
                          </a:lnTo>
                          <a:lnTo>
                            <a:pt x="2166" y="195"/>
                          </a:lnTo>
                          <a:lnTo>
                            <a:pt x="2148" y="177"/>
                          </a:lnTo>
                          <a:lnTo>
                            <a:pt x="2094" y="204"/>
                          </a:lnTo>
                          <a:lnTo>
                            <a:pt x="2073" y="165"/>
                          </a:lnTo>
                          <a:lnTo>
                            <a:pt x="1992" y="141"/>
                          </a:lnTo>
                          <a:lnTo>
                            <a:pt x="1911" y="165"/>
                          </a:lnTo>
                          <a:lnTo>
                            <a:pt x="1899" y="213"/>
                          </a:lnTo>
                          <a:lnTo>
                            <a:pt x="1830" y="216"/>
                          </a:lnTo>
                          <a:lnTo>
                            <a:pt x="1764" y="198"/>
                          </a:lnTo>
                          <a:lnTo>
                            <a:pt x="1737" y="168"/>
                          </a:lnTo>
                          <a:lnTo>
                            <a:pt x="1689" y="183"/>
                          </a:lnTo>
                          <a:lnTo>
                            <a:pt x="1629" y="237"/>
                          </a:lnTo>
                          <a:lnTo>
                            <a:pt x="1509" y="246"/>
                          </a:lnTo>
                          <a:lnTo>
                            <a:pt x="1443" y="222"/>
                          </a:lnTo>
                          <a:lnTo>
                            <a:pt x="1428" y="192"/>
                          </a:lnTo>
                          <a:lnTo>
                            <a:pt x="1488" y="180"/>
                          </a:lnTo>
                          <a:lnTo>
                            <a:pt x="1488" y="141"/>
                          </a:lnTo>
                          <a:lnTo>
                            <a:pt x="1455" y="111"/>
                          </a:lnTo>
                          <a:lnTo>
                            <a:pt x="1341" y="123"/>
                          </a:lnTo>
                          <a:lnTo>
                            <a:pt x="1305" y="162"/>
                          </a:lnTo>
                          <a:lnTo>
                            <a:pt x="1254" y="156"/>
                          </a:lnTo>
                          <a:lnTo>
                            <a:pt x="1245" y="183"/>
                          </a:lnTo>
                          <a:lnTo>
                            <a:pt x="1269" y="207"/>
                          </a:lnTo>
                          <a:lnTo>
                            <a:pt x="1209" y="237"/>
                          </a:lnTo>
                          <a:lnTo>
                            <a:pt x="1218" y="279"/>
                          </a:lnTo>
                          <a:lnTo>
                            <a:pt x="1197" y="300"/>
                          </a:lnTo>
                          <a:lnTo>
                            <a:pt x="1176" y="288"/>
                          </a:lnTo>
                          <a:lnTo>
                            <a:pt x="1113" y="327"/>
                          </a:lnTo>
                          <a:lnTo>
                            <a:pt x="1071" y="330"/>
                          </a:lnTo>
                          <a:lnTo>
                            <a:pt x="1047" y="300"/>
                          </a:lnTo>
                          <a:lnTo>
                            <a:pt x="1050" y="231"/>
                          </a:lnTo>
                          <a:lnTo>
                            <a:pt x="936" y="225"/>
                          </a:lnTo>
                          <a:lnTo>
                            <a:pt x="858" y="207"/>
                          </a:lnTo>
                          <a:lnTo>
                            <a:pt x="852" y="231"/>
                          </a:lnTo>
                          <a:lnTo>
                            <a:pt x="753" y="213"/>
                          </a:lnTo>
                          <a:lnTo>
                            <a:pt x="717" y="147"/>
                          </a:lnTo>
                          <a:lnTo>
                            <a:pt x="657" y="135"/>
                          </a:lnTo>
                          <a:lnTo>
                            <a:pt x="645" y="156"/>
                          </a:lnTo>
                          <a:lnTo>
                            <a:pt x="567" y="108"/>
                          </a:lnTo>
                          <a:lnTo>
                            <a:pt x="585" y="42"/>
                          </a:lnTo>
                          <a:lnTo>
                            <a:pt x="555" y="0"/>
                          </a:lnTo>
                          <a:lnTo>
                            <a:pt x="483" y="42"/>
                          </a:lnTo>
                          <a:lnTo>
                            <a:pt x="424" y="33"/>
                          </a:lnTo>
                          <a:lnTo>
                            <a:pt x="357" y="65"/>
                          </a:lnTo>
                          <a:lnTo>
                            <a:pt x="373" y="122"/>
                          </a:lnTo>
                          <a:lnTo>
                            <a:pt x="349" y="152"/>
                          </a:lnTo>
                          <a:lnTo>
                            <a:pt x="385" y="176"/>
                          </a:lnTo>
                          <a:lnTo>
                            <a:pt x="454" y="153"/>
                          </a:lnTo>
                          <a:lnTo>
                            <a:pt x="474" y="164"/>
                          </a:lnTo>
                          <a:lnTo>
                            <a:pt x="511" y="138"/>
                          </a:lnTo>
                          <a:lnTo>
                            <a:pt x="522" y="155"/>
                          </a:lnTo>
                          <a:lnTo>
                            <a:pt x="480" y="188"/>
                          </a:lnTo>
                          <a:lnTo>
                            <a:pt x="439" y="191"/>
                          </a:lnTo>
                          <a:lnTo>
                            <a:pt x="342" y="261"/>
                          </a:lnTo>
                          <a:lnTo>
                            <a:pt x="279" y="275"/>
                          </a:lnTo>
                          <a:lnTo>
                            <a:pt x="298" y="294"/>
                          </a:lnTo>
                          <a:lnTo>
                            <a:pt x="342" y="306"/>
                          </a:lnTo>
                          <a:lnTo>
                            <a:pt x="376" y="350"/>
                          </a:lnTo>
                          <a:lnTo>
                            <a:pt x="372" y="407"/>
                          </a:lnTo>
                          <a:lnTo>
                            <a:pt x="306" y="462"/>
                          </a:lnTo>
                          <a:lnTo>
                            <a:pt x="228" y="408"/>
                          </a:lnTo>
                          <a:lnTo>
                            <a:pt x="220" y="437"/>
                          </a:lnTo>
                          <a:lnTo>
                            <a:pt x="247" y="474"/>
                          </a:lnTo>
                          <a:lnTo>
                            <a:pt x="213" y="527"/>
                          </a:lnTo>
                          <a:lnTo>
                            <a:pt x="228" y="563"/>
                          </a:lnTo>
                          <a:lnTo>
                            <a:pt x="168" y="579"/>
                          </a:lnTo>
                          <a:lnTo>
                            <a:pt x="60" y="552"/>
                          </a:lnTo>
                          <a:close/>
                        </a:path>
                      </a:pathLst>
                    </a:custGeom>
                    <a:ln>
                      <a:headEnd type="none" w="med" len="med"/>
                      <a:tailEnd type="none" w="med" len="med"/>
                    </a:ln>
                    <a:extLst/>
                  </p:spPr>
                  <p:style>
                    <a:lnRef idx="2">
                      <a:schemeClr val="accent6">
                        <a:shade val="50000"/>
                      </a:schemeClr>
                    </a:lnRef>
                    <a:fillRef idx="1">
                      <a:schemeClr val="accent6"/>
                    </a:fillRef>
                    <a:effectRef idx="0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65" name="Freeform 64"/>
                    <p:cNvSpPr>
                      <a:spLocks/>
                    </p:cNvSpPr>
                    <p:nvPr/>
                  </p:nvSpPr>
                  <p:spPr bwMode="auto">
                    <a:xfrm>
                      <a:off x="2569" y="1263"/>
                      <a:ext cx="748" cy="721"/>
                    </a:xfrm>
                    <a:custGeom>
                      <a:avLst/>
                      <a:gdLst>
                        <a:gd name="T0" fmla="*/ 1023 w 2178"/>
                        <a:gd name="T1" fmla="*/ 566 h 2107"/>
                        <a:gd name="T2" fmla="*/ 1296 w 2178"/>
                        <a:gd name="T3" fmla="*/ 749 h 2107"/>
                        <a:gd name="T4" fmla="*/ 1578 w 2178"/>
                        <a:gd name="T5" fmla="*/ 863 h 2107"/>
                        <a:gd name="T6" fmla="*/ 1803 w 2178"/>
                        <a:gd name="T7" fmla="*/ 944 h 2107"/>
                        <a:gd name="T8" fmla="*/ 1944 w 2178"/>
                        <a:gd name="T9" fmla="*/ 938 h 2107"/>
                        <a:gd name="T10" fmla="*/ 2037 w 2178"/>
                        <a:gd name="T11" fmla="*/ 1202 h 2107"/>
                        <a:gd name="T12" fmla="*/ 2061 w 2178"/>
                        <a:gd name="T13" fmla="*/ 1324 h 2107"/>
                        <a:gd name="T14" fmla="*/ 2178 w 2178"/>
                        <a:gd name="T15" fmla="*/ 1439 h 2107"/>
                        <a:gd name="T16" fmla="*/ 1984 w 2178"/>
                        <a:gd name="T17" fmla="*/ 1553 h 2107"/>
                        <a:gd name="T18" fmla="*/ 1836 w 2178"/>
                        <a:gd name="T19" fmla="*/ 1655 h 2107"/>
                        <a:gd name="T20" fmla="*/ 1846 w 2178"/>
                        <a:gd name="T21" fmla="*/ 1906 h 2107"/>
                        <a:gd name="T22" fmla="*/ 1801 w 2178"/>
                        <a:gd name="T23" fmla="*/ 2047 h 2107"/>
                        <a:gd name="T24" fmla="*/ 1698 w 2178"/>
                        <a:gd name="T25" fmla="*/ 2078 h 2107"/>
                        <a:gd name="T26" fmla="*/ 1621 w 2178"/>
                        <a:gd name="T27" fmla="*/ 2017 h 2107"/>
                        <a:gd name="T28" fmla="*/ 1633 w 2178"/>
                        <a:gd name="T29" fmla="*/ 1909 h 2107"/>
                        <a:gd name="T30" fmla="*/ 1594 w 2178"/>
                        <a:gd name="T31" fmla="*/ 1846 h 2107"/>
                        <a:gd name="T32" fmla="*/ 1494 w 2178"/>
                        <a:gd name="T33" fmla="*/ 1811 h 2107"/>
                        <a:gd name="T34" fmla="*/ 1375 w 2178"/>
                        <a:gd name="T35" fmla="*/ 1715 h 2107"/>
                        <a:gd name="T36" fmla="*/ 1291 w 2178"/>
                        <a:gd name="T37" fmla="*/ 1660 h 2107"/>
                        <a:gd name="T38" fmla="*/ 1198 w 2178"/>
                        <a:gd name="T39" fmla="*/ 1777 h 2107"/>
                        <a:gd name="T40" fmla="*/ 1105 w 2178"/>
                        <a:gd name="T41" fmla="*/ 1682 h 2107"/>
                        <a:gd name="T42" fmla="*/ 1029 w 2178"/>
                        <a:gd name="T43" fmla="*/ 1696 h 2107"/>
                        <a:gd name="T44" fmla="*/ 978 w 2178"/>
                        <a:gd name="T45" fmla="*/ 1757 h 2107"/>
                        <a:gd name="T46" fmla="*/ 912 w 2178"/>
                        <a:gd name="T47" fmla="*/ 1628 h 2107"/>
                        <a:gd name="T48" fmla="*/ 808 w 2178"/>
                        <a:gd name="T49" fmla="*/ 1670 h 2107"/>
                        <a:gd name="T50" fmla="*/ 681 w 2178"/>
                        <a:gd name="T51" fmla="*/ 1730 h 2107"/>
                        <a:gd name="T52" fmla="*/ 657 w 2178"/>
                        <a:gd name="T53" fmla="*/ 1646 h 2107"/>
                        <a:gd name="T54" fmla="*/ 525 w 2178"/>
                        <a:gd name="T55" fmla="*/ 1679 h 2107"/>
                        <a:gd name="T56" fmla="*/ 543 w 2178"/>
                        <a:gd name="T57" fmla="*/ 1588 h 2107"/>
                        <a:gd name="T58" fmla="*/ 450 w 2178"/>
                        <a:gd name="T59" fmla="*/ 1600 h 2107"/>
                        <a:gd name="T60" fmla="*/ 430 w 2178"/>
                        <a:gd name="T61" fmla="*/ 1679 h 2107"/>
                        <a:gd name="T62" fmla="*/ 472 w 2178"/>
                        <a:gd name="T63" fmla="*/ 1871 h 2107"/>
                        <a:gd name="T64" fmla="*/ 534 w 2178"/>
                        <a:gd name="T65" fmla="*/ 1966 h 2107"/>
                        <a:gd name="T66" fmla="*/ 420 w 2178"/>
                        <a:gd name="T67" fmla="*/ 1940 h 2107"/>
                        <a:gd name="T68" fmla="*/ 322 w 2178"/>
                        <a:gd name="T69" fmla="*/ 1888 h 2107"/>
                        <a:gd name="T70" fmla="*/ 352 w 2178"/>
                        <a:gd name="T71" fmla="*/ 1732 h 2107"/>
                        <a:gd name="T72" fmla="*/ 375 w 2178"/>
                        <a:gd name="T73" fmla="*/ 1567 h 2107"/>
                        <a:gd name="T74" fmla="*/ 493 w 2178"/>
                        <a:gd name="T75" fmla="*/ 1501 h 2107"/>
                        <a:gd name="T76" fmla="*/ 552 w 2178"/>
                        <a:gd name="T77" fmla="*/ 1409 h 2107"/>
                        <a:gd name="T78" fmla="*/ 583 w 2178"/>
                        <a:gd name="T79" fmla="*/ 1298 h 2107"/>
                        <a:gd name="T80" fmla="*/ 393 w 2178"/>
                        <a:gd name="T81" fmla="*/ 1159 h 2107"/>
                        <a:gd name="T82" fmla="*/ 270 w 2178"/>
                        <a:gd name="T83" fmla="*/ 1151 h 2107"/>
                        <a:gd name="T84" fmla="*/ 91 w 2178"/>
                        <a:gd name="T85" fmla="*/ 1141 h 2107"/>
                        <a:gd name="T86" fmla="*/ 160 w 2178"/>
                        <a:gd name="T87" fmla="*/ 1038 h 2107"/>
                        <a:gd name="T88" fmla="*/ 78 w 2178"/>
                        <a:gd name="T89" fmla="*/ 828 h 2107"/>
                        <a:gd name="T90" fmla="*/ 112 w 2178"/>
                        <a:gd name="T91" fmla="*/ 674 h 2107"/>
                        <a:gd name="T92" fmla="*/ 112 w 2178"/>
                        <a:gd name="T93" fmla="*/ 534 h 2107"/>
                        <a:gd name="T94" fmla="*/ 16 w 2178"/>
                        <a:gd name="T95" fmla="*/ 405 h 2107"/>
                        <a:gd name="T96" fmla="*/ 52 w 2178"/>
                        <a:gd name="T97" fmla="*/ 155 h 2107"/>
                        <a:gd name="T98" fmla="*/ 120 w 2178"/>
                        <a:gd name="T99" fmla="*/ 44 h 2107"/>
                        <a:gd name="T100" fmla="*/ 261 w 2178"/>
                        <a:gd name="T101" fmla="*/ 38 h 2107"/>
                        <a:gd name="T102" fmla="*/ 231 w 2178"/>
                        <a:gd name="T103" fmla="*/ 212 h 2107"/>
                        <a:gd name="T104" fmla="*/ 294 w 2178"/>
                        <a:gd name="T105" fmla="*/ 276 h 2107"/>
                        <a:gd name="T106" fmla="*/ 414 w 2178"/>
                        <a:gd name="T107" fmla="*/ 207 h 2107"/>
                        <a:gd name="T108" fmla="*/ 493 w 2178"/>
                        <a:gd name="T109" fmla="*/ 338 h 2107"/>
                        <a:gd name="T110" fmla="*/ 618 w 2178"/>
                        <a:gd name="T111" fmla="*/ 432 h 2107"/>
                        <a:gd name="T112" fmla="*/ 760 w 2178"/>
                        <a:gd name="T113" fmla="*/ 489 h 210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</a:cxnLst>
                      <a:rect l="0" t="0" r="r" b="b"/>
                      <a:pathLst>
                        <a:path w="2178" h="2107">
                          <a:moveTo>
                            <a:pt x="867" y="494"/>
                          </a:moveTo>
                          <a:lnTo>
                            <a:pt x="999" y="587"/>
                          </a:lnTo>
                          <a:lnTo>
                            <a:pt x="1023" y="566"/>
                          </a:lnTo>
                          <a:lnTo>
                            <a:pt x="1050" y="590"/>
                          </a:lnTo>
                          <a:lnTo>
                            <a:pt x="1170" y="629"/>
                          </a:lnTo>
                          <a:lnTo>
                            <a:pt x="1296" y="749"/>
                          </a:lnTo>
                          <a:lnTo>
                            <a:pt x="1395" y="818"/>
                          </a:lnTo>
                          <a:lnTo>
                            <a:pt x="1428" y="788"/>
                          </a:lnTo>
                          <a:lnTo>
                            <a:pt x="1578" y="863"/>
                          </a:lnTo>
                          <a:lnTo>
                            <a:pt x="1623" y="845"/>
                          </a:lnTo>
                          <a:lnTo>
                            <a:pt x="1653" y="929"/>
                          </a:lnTo>
                          <a:lnTo>
                            <a:pt x="1803" y="944"/>
                          </a:lnTo>
                          <a:lnTo>
                            <a:pt x="1815" y="992"/>
                          </a:lnTo>
                          <a:lnTo>
                            <a:pt x="1833" y="932"/>
                          </a:lnTo>
                          <a:lnTo>
                            <a:pt x="1944" y="938"/>
                          </a:lnTo>
                          <a:lnTo>
                            <a:pt x="2043" y="1123"/>
                          </a:lnTo>
                          <a:lnTo>
                            <a:pt x="2124" y="1201"/>
                          </a:lnTo>
                          <a:lnTo>
                            <a:pt x="2037" y="1202"/>
                          </a:lnTo>
                          <a:lnTo>
                            <a:pt x="1974" y="1250"/>
                          </a:lnTo>
                          <a:lnTo>
                            <a:pt x="2058" y="1283"/>
                          </a:lnTo>
                          <a:lnTo>
                            <a:pt x="2061" y="1324"/>
                          </a:lnTo>
                          <a:lnTo>
                            <a:pt x="2025" y="1328"/>
                          </a:lnTo>
                          <a:lnTo>
                            <a:pt x="2026" y="1358"/>
                          </a:lnTo>
                          <a:lnTo>
                            <a:pt x="2178" y="1439"/>
                          </a:lnTo>
                          <a:lnTo>
                            <a:pt x="2178" y="1487"/>
                          </a:lnTo>
                          <a:lnTo>
                            <a:pt x="2055" y="1495"/>
                          </a:lnTo>
                          <a:lnTo>
                            <a:pt x="1984" y="1553"/>
                          </a:lnTo>
                          <a:lnTo>
                            <a:pt x="1974" y="1580"/>
                          </a:lnTo>
                          <a:lnTo>
                            <a:pt x="1927" y="1600"/>
                          </a:lnTo>
                          <a:lnTo>
                            <a:pt x="1836" y="1655"/>
                          </a:lnTo>
                          <a:lnTo>
                            <a:pt x="1834" y="1780"/>
                          </a:lnTo>
                          <a:lnTo>
                            <a:pt x="1899" y="1868"/>
                          </a:lnTo>
                          <a:lnTo>
                            <a:pt x="1846" y="1906"/>
                          </a:lnTo>
                          <a:lnTo>
                            <a:pt x="1861" y="1927"/>
                          </a:lnTo>
                          <a:lnTo>
                            <a:pt x="1839" y="2027"/>
                          </a:lnTo>
                          <a:lnTo>
                            <a:pt x="1801" y="2047"/>
                          </a:lnTo>
                          <a:lnTo>
                            <a:pt x="1800" y="2080"/>
                          </a:lnTo>
                          <a:lnTo>
                            <a:pt x="1705" y="2107"/>
                          </a:lnTo>
                          <a:lnTo>
                            <a:pt x="1698" y="2078"/>
                          </a:lnTo>
                          <a:lnTo>
                            <a:pt x="1672" y="2069"/>
                          </a:lnTo>
                          <a:lnTo>
                            <a:pt x="1659" y="2035"/>
                          </a:lnTo>
                          <a:lnTo>
                            <a:pt x="1621" y="2017"/>
                          </a:lnTo>
                          <a:lnTo>
                            <a:pt x="1659" y="1999"/>
                          </a:lnTo>
                          <a:lnTo>
                            <a:pt x="1666" y="1961"/>
                          </a:lnTo>
                          <a:lnTo>
                            <a:pt x="1633" y="1909"/>
                          </a:lnTo>
                          <a:lnTo>
                            <a:pt x="1675" y="1876"/>
                          </a:lnTo>
                          <a:lnTo>
                            <a:pt x="1636" y="1835"/>
                          </a:lnTo>
                          <a:lnTo>
                            <a:pt x="1594" y="1846"/>
                          </a:lnTo>
                          <a:lnTo>
                            <a:pt x="1560" y="1838"/>
                          </a:lnTo>
                          <a:lnTo>
                            <a:pt x="1543" y="1874"/>
                          </a:lnTo>
                          <a:lnTo>
                            <a:pt x="1494" y="1811"/>
                          </a:lnTo>
                          <a:lnTo>
                            <a:pt x="1417" y="1781"/>
                          </a:lnTo>
                          <a:lnTo>
                            <a:pt x="1407" y="1736"/>
                          </a:lnTo>
                          <a:lnTo>
                            <a:pt x="1375" y="1715"/>
                          </a:lnTo>
                          <a:lnTo>
                            <a:pt x="1330" y="1730"/>
                          </a:lnTo>
                          <a:lnTo>
                            <a:pt x="1318" y="1694"/>
                          </a:lnTo>
                          <a:lnTo>
                            <a:pt x="1291" y="1660"/>
                          </a:lnTo>
                          <a:lnTo>
                            <a:pt x="1269" y="1718"/>
                          </a:lnTo>
                          <a:lnTo>
                            <a:pt x="1230" y="1667"/>
                          </a:lnTo>
                          <a:lnTo>
                            <a:pt x="1198" y="1777"/>
                          </a:lnTo>
                          <a:lnTo>
                            <a:pt x="1087" y="1766"/>
                          </a:lnTo>
                          <a:lnTo>
                            <a:pt x="1105" y="1735"/>
                          </a:lnTo>
                          <a:lnTo>
                            <a:pt x="1105" y="1682"/>
                          </a:lnTo>
                          <a:lnTo>
                            <a:pt x="1063" y="1691"/>
                          </a:lnTo>
                          <a:lnTo>
                            <a:pt x="1053" y="1724"/>
                          </a:lnTo>
                          <a:lnTo>
                            <a:pt x="1029" y="1696"/>
                          </a:lnTo>
                          <a:lnTo>
                            <a:pt x="999" y="1715"/>
                          </a:lnTo>
                          <a:lnTo>
                            <a:pt x="1018" y="1756"/>
                          </a:lnTo>
                          <a:lnTo>
                            <a:pt x="978" y="1757"/>
                          </a:lnTo>
                          <a:lnTo>
                            <a:pt x="930" y="1724"/>
                          </a:lnTo>
                          <a:lnTo>
                            <a:pt x="973" y="1676"/>
                          </a:lnTo>
                          <a:lnTo>
                            <a:pt x="912" y="1628"/>
                          </a:lnTo>
                          <a:lnTo>
                            <a:pt x="943" y="1600"/>
                          </a:lnTo>
                          <a:lnTo>
                            <a:pt x="862" y="1634"/>
                          </a:lnTo>
                          <a:lnTo>
                            <a:pt x="808" y="1670"/>
                          </a:lnTo>
                          <a:lnTo>
                            <a:pt x="810" y="1717"/>
                          </a:lnTo>
                          <a:lnTo>
                            <a:pt x="714" y="1691"/>
                          </a:lnTo>
                          <a:lnTo>
                            <a:pt x="681" y="1730"/>
                          </a:lnTo>
                          <a:lnTo>
                            <a:pt x="661" y="1714"/>
                          </a:lnTo>
                          <a:lnTo>
                            <a:pt x="690" y="1655"/>
                          </a:lnTo>
                          <a:lnTo>
                            <a:pt x="657" y="1646"/>
                          </a:lnTo>
                          <a:lnTo>
                            <a:pt x="612" y="1711"/>
                          </a:lnTo>
                          <a:lnTo>
                            <a:pt x="547" y="1658"/>
                          </a:lnTo>
                          <a:lnTo>
                            <a:pt x="525" y="1679"/>
                          </a:lnTo>
                          <a:lnTo>
                            <a:pt x="498" y="1654"/>
                          </a:lnTo>
                          <a:lnTo>
                            <a:pt x="540" y="1630"/>
                          </a:lnTo>
                          <a:lnTo>
                            <a:pt x="543" y="1588"/>
                          </a:lnTo>
                          <a:lnTo>
                            <a:pt x="505" y="1588"/>
                          </a:lnTo>
                          <a:lnTo>
                            <a:pt x="525" y="1556"/>
                          </a:lnTo>
                          <a:lnTo>
                            <a:pt x="450" y="1600"/>
                          </a:lnTo>
                          <a:lnTo>
                            <a:pt x="423" y="1625"/>
                          </a:lnTo>
                          <a:lnTo>
                            <a:pt x="403" y="1655"/>
                          </a:lnTo>
                          <a:lnTo>
                            <a:pt x="430" y="1679"/>
                          </a:lnTo>
                          <a:lnTo>
                            <a:pt x="456" y="1772"/>
                          </a:lnTo>
                          <a:lnTo>
                            <a:pt x="493" y="1835"/>
                          </a:lnTo>
                          <a:lnTo>
                            <a:pt x="472" y="1871"/>
                          </a:lnTo>
                          <a:lnTo>
                            <a:pt x="526" y="1880"/>
                          </a:lnTo>
                          <a:lnTo>
                            <a:pt x="541" y="1930"/>
                          </a:lnTo>
                          <a:lnTo>
                            <a:pt x="534" y="1966"/>
                          </a:lnTo>
                          <a:lnTo>
                            <a:pt x="501" y="1996"/>
                          </a:lnTo>
                          <a:lnTo>
                            <a:pt x="447" y="1981"/>
                          </a:lnTo>
                          <a:lnTo>
                            <a:pt x="420" y="1940"/>
                          </a:lnTo>
                          <a:lnTo>
                            <a:pt x="382" y="1961"/>
                          </a:lnTo>
                          <a:lnTo>
                            <a:pt x="354" y="1961"/>
                          </a:lnTo>
                          <a:lnTo>
                            <a:pt x="322" y="1888"/>
                          </a:lnTo>
                          <a:lnTo>
                            <a:pt x="346" y="1841"/>
                          </a:lnTo>
                          <a:lnTo>
                            <a:pt x="306" y="1780"/>
                          </a:lnTo>
                          <a:lnTo>
                            <a:pt x="352" y="1732"/>
                          </a:lnTo>
                          <a:lnTo>
                            <a:pt x="367" y="1672"/>
                          </a:lnTo>
                          <a:lnTo>
                            <a:pt x="345" y="1621"/>
                          </a:lnTo>
                          <a:lnTo>
                            <a:pt x="375" y="1567"/>
                          </a:lnTo>
                          <a:lnTo>
                            <a:pt x="424" y="1561"/>
                          </a:lnTo>
                          <a:lnTo>
                            <a:pt x="481" y="1550"/>
                          </a:lnTo>
                          <a:lnTo>
                            <a:pt x="493" y="1501"/>
                          </a:lnTo>
                          <a:lnTo>
                            <a:pt x="529" y="1487"/>
                          </a:lnTo>
                          <a:lnTo>
                            <a:pt x="528" y="1433"/>
                          </a:lnTo>
                          <a:lnTo>
                            <a:pt x="552" y="1409"/>
                          </a:lnTo>
                          <a:lnTo>
                            <a:pt x="538" y="1387"/>
                          </a:lnTo>
                          <a:lnTo>
                            <a:pt x="574" y="1333"/>
                          </a:lnTo>
                          <a:lnTo>
                            <a:pt x="583" y="1298"/>
                          </a:lnTo>
                          <a:lnTo>
                            <a:pt x="564" y="1235"/>
                          </a:lnTo>
                          <a:lnTo>
                            <a:pt x="489" y="1159"/>
                          </a:lnTo>
                          <a:lnTo>
                            <a:pt x="393" y="1159"/>
                          </a:lnTo>
                          <a:lnTo>
                            <a:pt x="358" y="1130"/>
                          </a:lnTo>
                          <a:lnTo>
                            <a:pt x="295" y="1111"/>
                          </a:lnTo>
                          <a:lnTo>
                            <a:pt x="270" y="1151"/>
                          </a:lnTo>
                          <a:lnTo>
                            <a:pt x="201" y="1132"/>
                          </a:lnTo>
                          <a:lnTo>
                            <a:pt x="115" y="1180"/>
                          </a:lnTo>
                          <a:lnTo>
                            <a:pt x="91" y="1141"/>
                          </a:lnTo>
                          <a:lnTo>
                            <a:pt x="180" y="1085"/>
                          </a:lnTo>
                          <a:lnTo>
                            <a:pt x="117" y="1069"/>
                          </a:lnTo>
                          <a:lnTo>
                            <a:pt x="160" y="1038"/>
                          </a:lnTo>
                          <a:lnTo>
                            <a:pt x="147" y="984"/>
                          </a:lnTo>
                          <a:lnTo>
                            <a:pt x="99" y="969"/>
                          </a:lnTo>
                          <a:lnTo>
                            <a:pt x="78" y="828"/>
                          </a:lnTo>
                          <a:lnTo>
                            <a:pt x="130" y="761"/>
                          </a:lnTo>
                          <a:lnTo>
                            <a:pt x="126" y="702"/>
                          </a:lnTo>
                          <a:lnTo>
                            <a:pt x="112" y="674"/>
                          </a:lnTo>
                          <a:lnTo>
                            <a:pt x="117" y="614"/>
                          </a:lnTo>
                          <a:lnTo>
                            <a:pt x="97" y="605"/>
                          </a:lnTo>
                          <a:lnTo>
                            <a:pt x="112" y="534"/>
                          </a:lnTo>
                          <a:lnTo>
                            <a:pt x="36" y="483"/>
                          </a:lnTo>
                          <a:lnTo>
                            <a:pt x="49" y="437"/>
                          </a:lnTo>
                          <a:lnTo>
                            <a:pt x="16" y="405"/>
                          </a:lnTo>
                          <a:lnTo>
                            <a:pt x="34" y="330"/>
                          </a:lnTo>
                          <a:lnTo>
                            <a:pt x="0" y="252"/>
                          </a:lnTo>
                          <a:lnTo>
                            <a:pt x="52" y="155"/>
                          </a:lnTo>
                          <a:lnTo>
                            <a:pt x="39" y="122"/>
                          </a:lnTo>
                          <a:lnTo>
                            <a:pt x="120" y="87"/>
                          </a:lnTo>
                          <a:lnTo>
                            <a:pt x="120" y="44"/>
                          </a:lnTo>
                          <a:lnTo>
                            <a:pt x="175" y="0"/>
                          </a:lnTo>
                          <a:lnTo>
                            <a:pt x="219" y="33"/>
                          </a:lnTo>
                          <a:lnTo>
                            <a:pt x="261" y="38"/>
                          </a:lnTo>
                          <a:lnTo>
                            <a:pt x="267" y="77"/>
                          </a:lnTo>
                          <a:lnTo>
                            <a:pt x="234" y="144"/>
                          </a:lnTo>
                          <a:lnTo>
                            <a:pt x="231" y="212"/>
                          </a:lnTo>
                          <a:lnTo>
                            <a:pt x="244" y="248"/>
                          </a:lnTo>
                          <a:lnTo>
                            <a:pt x="270" y="236"/>
                          </a:lnTo>
                          <a:lnTo>
                            <a:pt x="294" y="276"/>
                          </a:lnTo>
                          <a:lnTo>
                            <a:pt x="312" y="284"/>
                          </a:lnTo>
                          <a:lnTo>
                            <a:pt x="312" y="255"/>
                          </a:lnTo>
                          <a:lnTo>
                            <a:pt x="414" y="207"/>
                          </a:lnTo>
                          <a:lnTo>
                            <a:pt x="436" y="266"/>
                          </a:lnTo>
                          <a:lnTo>
                            <a:pt x="555" y="318"/>
                          </a:lnTo>
                          <a:lnTo>
                            <a:pt x="493" y="338"/>
                          </a:lnTo>
                          <a:lnTo>
                            <a:pt x="549" y="402"/>
                          </a:lnTo>
                          <a:lnTo>
                            <a:pt x="586" y="393"/>
                          </a:lnTo>
                          <a:lnTo>
                            <a:pt x="618" y="432"/>
                          </a:lnTo>
                          <a:lnTo>
                            <a:pt x="669" y="446"/>
                          </a:lnTo>
                          <a:lnTo>
                            <a:pt x="667" y="476"/>
                          </a:lnTo>
                          <a:lnTo>
                            <a:pt x="760" y="489"/>
                          </a:lnTo>
                          <a:lnTo>
                            <a:pt x="826" y="525"/>
                          </a:lnTo>
                          <a:lnTo>
                            <a:pt x="867" y="494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66" name="Freeform 65"/>
                    <p:cNvSpPr>
                      <a:spLocks/>
                    </p:cNvSpPr>
                    <p:nvPr/>
                  </p:nvSpPr>
                  <p:spPr bwMode="auto">
                    <a:xfrm>
                      <a:off x="2221" y="2589"/>
                      <a:ext cx="482" cy="759"/>
                    </a:xfrm>
                    <a:custGeom>
                      <a:avLst/>
                      <a:gdLst>
                        <a:gd name="T0" fmla="*/ 201 w 1404"/>
                        <a:gd name="T1" fmla="*/ 1750 h 2217"/>
                        <a:gd name="T2" fmla="*/ 171 w 1404"/>
                        <a:gd name="T3" fmla="*/ 1570 h 2217"/>
                        <a:gd name="T4" fmla="*/ 150 w 1404"/>
                        <a:gd name="T5" fmla="*/ 1441 h 2217"/>
                        <a:gd name="T6" fmla="*/ 123 w 1404"/>
                        <a:gd name="T7" fmla="*/ 1324 h 2217"/>
                        <a:gd name="T8" fmla="*/ 81 w 1404"/>
                        <a:gd name="T9" fmla="*/ 1216 h 2217"/>
                        <a:gd name="T10" fmla="*/ 39 w 1404"/>
                        <a:gd name="T11" fmla="*/ 1099 h 2217"/>
                        <a:gd name="T12" fmla="*/ 61 w 1404"/>
                        <a:gd name="T13" fmla="*/ 976 h 2217"/>
                        <a:gd name="T14" fmla="*/ 0 w 1404"/>
                        <a:gd name="T15" fmla="*/ 859 h 2217"/>
                        <a:gd name="T16" fmla="*/ 105 w 1404"/>
                        <a:gd name="T17" fmla="*/ 733 h 2217"/>
                        <a:gd name="T18" fmla="*/ 69 w 1404"/>
                        <a:gd name="T19" fmla="*/ 649 h 2217"/>
                        <a:gd name="T20" fmla="*/ 201 w 1404"/>
                        <a:gd name="T21" fmla="*/ 507 h 2217"/>
                        <a:gd name="T22" fmla="*/ 304 w 1404"/>
                        <a:gd name="T23" fmla="*/ 435 h 2217"/>
                        <a:gd name="T24" fmla="*/ 511 w 1404"/>
                        <a:gd name="T25" fmla="*/ 450 h 2217"/>
                        <a:gd name="T26" fmla="*/ 499 w 1404"/>
                        <a:gd name="T27" fmla="*/ 283 h 2217"/>
                        <a:gd name="T28" fmla="*/ 732 w 1404"/>
                        <a:gd name="T29" fmla="*/ 351 h 2217"/>
                        <a:gd name="T30" fmla="*/ 745 w 1404"/>
                        <a:gd name="T31" fmla="*/ 238 h 2217"/>
                        <a:gd name="T32" fmla="*/ 849 w 1404"/>
                        <a:gd name="T33" fmla="*/ 165 h 2217"/>
                        <a:gd name="T34" fmla="*/ 891 w 1404"/>
                        <a:gd name="T35" fmla="*/ 70 h 2217"/>
                        <a:gd name="T36" fmla="*/ 993 w 1404"/>
                        <a:gd name="T37" fmla="*/ 0 h 2217"/>
                        <a:gd name="T38" fmla="*/ 1111 w 1404"/>
                        <a:gd name="T39" fmla="*/ 27 h 2217"/>
                        <a:gd name="T40" fmla="*/ 1138 w 1404"/>
                        <a:gd name="T41" fmla="*/ 142 h 2217"/>
                        <a:gd name="T42" fmla="*/ 1050 w 1404"/>
                        <a:gd name="T43" fmla="*/ 249 h 2217"/>
                        <a:gd name="T44" fmla="*/ 1066 w 1404"/>
                        <a:gd name="T45" fmla="*/ 330 h 2217"/>
                        <a:gd name="T46" fmla="*/ 1075 w 1404"/>
                        <a:gd name="T47" fmla="*/ 435 h 2217"/>
                        <a:gd name="T48" fmla="*/ 1042 w 1404"/>
                        <a:gd name="T49" fmla="*/ 560 h 2217"/>
                        <a:gd name="T50" fmla="*/ 1024 w 1404"/>
                        <a:gd name="T51" fmla="*/ 661 h 2217"/>
                        <a:gd name="T52" fmla="*/ 1108 w 1404"/>
                        <a:gd name="T53" fmla="*/ 684 h 2217"/>
                        <a:gd name="T54" fmla="*/ 1065 w 1404"/>
                        <a:gd name="T55" fmla="*/ 792 h 2217"/>
                        <a:gd name="T56" fmla="*/ 939 w 1404"/>
                        <a:gd name="T57" fmla="*/ 880 h 2217"/>
                        <a:gd name="T58" fmla="*/ 957 w 1404"/>
                        <a:gd name="T59" fmla="*/ 1024 h 2217"/>
                        <a:gd name="T60" fmla="*/ 903 w 1404"/>
                        <a:gd name="T61" fmla="*/ 1074 h 2217"/>
                        <a:gd name="T62" fmla="*/ 830 w 1404"/>
                        <a:gd name="T63" fmla="*/ 1247 h 2217"/>
                        <a:gd name="T64" fmla="*/ 861 w 1404"/>
                        <a:gd name="T65" fmla="*/ 1306 h 2217"/>
                        <a:gd name="T66" fmla="*/ 951 w 1404"/>
                        <a:gd name="T67" fmla="*/ 1314 h 2217"/>
                        <a:gd name="T68" fmla="*/ 1062 w 1404"/>
                        <a:gd name="T69" fmla="*/ 1353 h 2217"/>
                        <a:gd name="T70" fmla="*/ 1011 w 1404"/>
                        <a:gd name="T71" fmla="*/ 1383 h 2217"/>
                        <a:gd name="T72" fmla="*/ 913 w 1404"/>
                        <a:gd name="T73" fmla="*/ 1402 h 2217"/>
                        <a:gd name="T74" fmla="*/ 877 w 1404"/>
                        <a:gd name="T75" fmla="*/ 1408 h 2217"/>
                        <a:gd name="T76" fmla="*/ 951 w 1404"/>
                        <a:gd name="T77" fmla="*/ 1512 h 2217"/>
                        <a:gd name="T78" fmla="*/ 1018 w 1404"/>
                        <a:gd name="T79" fmla="*/ 1441 h 2217"/>
                        <a:gd name="T80" fmla="*/ 1105 w 1404"/>
                        <a:gd name="T81" fmla="*/ 1509 h 2217"/>
                        <a:gd name="T82" fmla="*/ 1186 w 1404"/>
                        <a:gd name="T83" fmla="*/ 1465 h 2217"/>
                        <a:gd name="T84" fmla="*/ 1243 w 1404"/>
                        <a:gd name="T85" fmla="*/ 1473 h 2217"/>
                        <a:gd name="T86" fmla="*/ 1293 w 1404"/>
                        <a:gd name="T87" fmla="*/ 1581 h 2217"/>
                        <a:gd name="T88" fmla="*/ 1404 w 1404"/>
                        <a:gd name="T89" fmla="*/ 1675 h 2217"/>
                        <a:gd name="T90" fmla="*/ 1362 w 1404"/>
                        <a:gd name="T91" fmla="*/ 1803 h 2217"/>
                        <a:gd name="T92" fmla="*/ 1263 w 1404"/>
                        <a:gd name="T93" fmla="*/ 1807 h 2217"/>
                        <a:gd name="T94" fmla="*/ 1129 w 1404"/>
                        <a:gd name="T95" fmla="*/ 1869 h 2217"/>
                        <a:gd name="T96" fmla="*/ 1095 w 1404"/>
                        <a:gd name="T97" fmla="*/ 1929 h 2217"/>
                        <a:gd name="T98" fmla="*/ 1131 w 1404"/>
                        <a:gd name="T99" fmla="*/ 2023 h 2217"/>
                        <a:gd name="T100" fmla="*/ 990 w 1404"/>
                        <a:gd name="T101" fmla="*/ 2167 h 2217"/>
                        <a:gd name="T102" fmla="*/ 925 w 1404"/>
                        <a:gd name="T103" fmla="*/ 2178 h 2217"/>
                        <a:gd name="T104" fmla="*/ 840 w 1404"/>
                        <a:gd name="T105" fmla="*/ 2217 h 2217"/>
                        <a:gd name="T106" fmla="*/ 700 w 1404"/>
                        <a:gd name="T107" fmla="*/ 2187 h 2217"/>
                        <a:gd name="T108" fmla="*/ 522 w 1404"/>
                        <a:gd name="T109" fmla="*/ 2089 h 2217"/>
                        <a:gd name="T110" fmla="*/ 367 w 1404"/>
                        <a:gd name="T111" fmla="*/ 1954 h 2217"/>
                        <a:gd name="T112" fmla="*/ 222 w 1404"/>
                        <a:gd name="T113" fmla="*/ 1831 h 221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</a:cxnLst>
                      <a:rect l="0" t="0" r="r" b="b"/>
                      <a:pathLst>
                        <a:path w="1404" h="2217">
                          <a:moveTo>
                            <a:pt x="222" y="1831"/>
                          </a:moveTo>
                          <a:lnTo>
                            <a:pt x="225" y="1783"/>
                          </a:lnTo>
                          <a:lnTo>
                            <a:pt x="201" y="1750"/>
                          </a:lnTo>
                          <a:lnTo>
                            <a:pt x="177" y="1633"/>
                          </a:lnTo>
                          <a:lnTo>
                            <a:pt x="207" y="1588"/>
                          </a:lnTo>
                          <a:lnTo>
                            <a:pt x="171" y="1570"/>
                          </a:lnTo>
                          <a:lnTo>
                            <a:pt x="198" y="1519"/>
                          </a:lnTo>
                          <a:lnTo>
                            <a:pt x="150" y="1492"/>
                          </a:lnTo>
                          <a:lnTo>
                            <a:pt x="150" y="1441"/>
                          </a:lnTo>
                          <a:lnTo>
                            <a:pt x="135" y="1396"/>
                          </a:lnTo>
                          <a:lnTo>
                            <a:pt x="99" y="1381"/>
                          </a:lnTo>
                          <a:lnTo>
                            <a:pt x="123" y="1324"/>
                          </a:lnTo>
                          <a:lnTo>
                            <a:pt x="93" y="1288"/>
                          </a:lnTo>
                          <a:lnTo>
                            <a:pt x="99" y="1243"/>
                          </a:lnTo>
                          <a:lnTo>
                            <a:pt x="81" y="1216"/>
                          </a:lnTo>
                          <a:lnTo>
                            <a:pt x="63" y="1168"/>
                          </a:lnTo>
                          <a:lnTo>
                            <a:pt x="30" y="1132"/>
                          </a:lnTo>
                          <a:lnTo>
                            <a:pt x="39" y="1099"/>
                          </a:lnTo>
                          <a:lnTo>
                            <a:pt x="9" y="1099"/>
                          </a:lnTo>
                          <a:lnTo>
                            <a:pt x="55" y="1045"/>
                          </a:lnTo>
                          <a:lnTo>
                            <a:pt x="61" y="976"/>
                          </a:lnTo>
                          <a:lnTo>
                            <a:pt x="40" y="939"/>
                          </a:lnTo>
                          <a:lnTo>
                            <a:pt x="45" y="870"/>
                          </a:lnTo>
                          <a:lnTo>
                            <a:pt x="0" y="859"/>
                          </a:lnTo>
                          <a:lnTo>
                            <a:pt x="21" y="811"/>
                          </a:lnTo>
                          <a:lnTo>
                            <a:pt x="75" y="831"/>
                          </a:lnTo>
                          <a:lnTo>
                            <a:pt x="105" y="733"/>
                          </a:lnTo>
                          <a:lnTo>
                            <a:pt x="130" y="709"/>
                          </a:lnTo>
                          <a:lnTo>
                            <a:pt x="105" y="663"/>
                          </a:lnTo>
                          <a:lnTo>
                            <a:pt x="69" y="649"/>
                          </a:lnTo>
                          <a:lnTo>
                            <a:pt x="73" y="567"/>
                          </a:lnTo>
                          <a:lnTo>
                            <a:pt x="193" y="555"/>
                          </a:lnTo>
                          <a:lnTo>
                            <a:pt x="201" y="507"/>
                          </a:lnTo>
                          <a:lnTo>
                            <a:pt x="271" y="507"/>
                          </a:lnTo>
                          <a:lnTo>
                            <a:pt x="268" y="439"/>
                          </a:lnTo>
                          <a:lnTo>
                            <a:pt x="304" y="435"/>
                          </a:lnTo>
                          <a:lnTo>
                            <a:pt x="372" y="483"/>
                          </a:lnTo>
                          <a:lnTo>
                            <a:pt x="409" y="453"/>
                          </a:lnTo>
                          <a:lnTo>
                            <a:pt x="511" y="450"/>
                          </a:lnTo>
                          <a:lnTo>
                            <a:pt x="517" y="405"/>
                          </a:lnTo>
                          <a:lnTo>
                            <a:pt x="499" y="349"/>
                          </a:lnTo>
                          <a:lnTo>
                            <a:pt x="499" y="283"/>
                          </a:lnTo>
                          <a:lnTo>
                            <a:pt x="600" y="345"/>
                          </a:lnTo>
                          <a:lnTo>
                            <a:pt x="691" y="321"/>
                          </a:lnTo>
                          <a:lnTo>
                            <a:pt x="732" y="351"/>
                          </a:lnTo>
                          <a:lnTo>
                            <a:pt x="741" y="321"/>
                          </a:lnTo>
                          <a:lnTo>
                            <a:pt x="718" y="292"/>
                          </a:lnTo>
                          <a:lnTo>
                            <a:pt x="745" y="238"/>
                          </a:lnTo>
                          <a:lnTo>
                            <a:pt x="778" y="207"/>
                          </a:lnTo>
                          <a:lnTo>
                            <a:pt x="855" y="226"/>
                          </a:lnTo>
                          <a:lnTo>
                            <a:pt x="849" y="165"/>
                          </a:lnTo>
                          <a:lnTo>
                            <a:pt x="889" y="166"/>
                          </a:lnTo>
                          <a:lnTo>
                            <a:pt x="909" y="109"/>
                          </a:lnTo>
                          <a:lnTo>
                            <a:pt x="891" y="70"/>
                          </a:lnTo>
                          <a:lnTo>
                            <a:pt x="969" y="75"/>
                          </a:lnTo>
                          <a:lnTo>
                            <a:pt x="997" y="40"/>
                          </a:lnTo>
                          <a:lnTo>
                            <a:pt x="993" y="0"/>
                          </a:lnTo>
                          <a:lnTo>
                            <a:pt x="1048" y="1"/>
                          </a:lnTo>
                          <a:lnTo>
                            <a:pt x="1050" y="39"/>
                          </a:lnTo>
                          <a:lnTo>
                            <a:pt x="1111" y="27"/>
                          </a:lnTo>
                          <a:lnTo>
                            <a:pt x="1120" y="88"/>
                          </a:lnTo>
                          <a:lnTo>
                            <a:pt x="1087" y="126"/>
                          </a:lnTo>
                          <a:lnTo>
                            <a:pt x="1138" y="142"/>
                          </a:lnTo>
                          <a:lnTo>
                            <a:pt x="1078" y="184"/>
                          </a:lnTo>
                          <a:lnTo>
                            <a:pt x="1093" y="205"/>
                          </a:lnTo>
                          <a:lnTo>
                            <a:pt x="1050" y="249"/>
                          </a:lnTo>
                          <a:lnTo>
                            <a:pt x="1078" y="274"/>
                          </a:lnTo>
                          <a:lnTo>
                            <a:pt x="1153" y="286"/>
                          </a:lnTo>
                          <a:lnTo>
                            <a:pt x="1066" y="330"/>
                          </a:lnTo>
                          <a:lnTo>
                            <a:pt x="1062" y="363"/>
                          </a:lnTo>
                          <a:lnTo>
                            <a:pt x="1030" y="388"/>
                          </a:lnTo>
                          <a:lnTo>
                            <a:pt x="1075" y="435"/>
                          </a:lnTo>
                          <a:lnTo>
                            <a:pt x="1056" y="472"/>
                          </a:lnTo>
                          <a:lnTo>
                            <a:pt x="1060" y="540"/>
                          </a:lnTo>
                          <a:lnTo>
                            <a:pt x="1042" y="560"/>
                          </a:lnTo>
                          <a:lnTo>
                            <a:pt x="1075" y="586"/>
                          </a:lnTo>
                          <a:lnTo>
                            <a:pt x="1053" y="631"/>
                          </a:lnTo>
                          <a:lnTo>
                            <a:pt x="1024" y="661"/>
                          </a:lnTo>
                          <a:lnTo>
                            <a:pt x="1057" y="672"/>
                          </a:lnTo>
                          <a:lnTo>
                            <a:pt x="1083" y="657"/>
                          </a:lnTo>
                          <a:lnTo>
                            <a:pt x="1108" y="684"/>
                          </a:lnTo>
                          <a:lnTo>
                            <a:pt x="1060" y="706"/>
                          </a:lnTo>
                          <a:lnTo>
                            <a:pt x="1072" y="733"/>
                          </a:lnTo>
                          <a:lnTo>
                            <a:pt x="1065" y="792"/>
                          </a:lnTo>
                          <a:lnTo>
                            <a:pt x="964" y="775"/>
                          </a:lnTo>
                          <a:lnTo>
                            <a:pt x="921" y="835"/>
                          </a:lnTo>
                          <a:lnTo>
                            <a:pt x="939" y="880"/>
                          </a:lnTo>
                          <a:lnTo>
                            <a:pt x="913" y="918"/>
                          </a:lnTo>
                          <a:lnTo>
                            <a:pt x="913" y="972"/>
                          </a:lnTo>
                          <a:lnTo>
                            <a:pt x="957" y="1024"/>
                          </a:lnTo>
                          <a:lnTo>
                            <a:pt x="960" y="1087"/>
                          </a:lnTo>
                          <a:lnTo>
                            <a:pt x="931" y="1110"/>
                          </a:lnTo>
                          <a:lnTo>
                            <a:pt x="903" y="1074"/>
                          </a:lnTo>
                          <a:lnTo>
                            <a:pt x="847" y="1122"/>
                          </a:lnTo>
                          <a:lnTo>
                            <a:pt x="834" y="1186"/>
                          </a:lnTo>
                          <a:lnTo>
                            <a:pt x="830" y="1247"/>
                          </a:lnTo>
                          <a:lnTo>
                            <a:pt x="865" y="1269"/>
                          </a:lnTo>
                          <a:lnTo>
                            <a:pt x="897" y="1278"/>
                          </a:lnTo>
                          <a:lnTo>
                            <a:pt x="861" y="1306"/>
                          </a:lnTo>
                          <a:lnTo>
                            <a:pt x="898" y="1354"/>
                          </a:lnTo>
                          <a:lnTo>
                            <a:pt x="933" y="1360"/>
                          </a:lnTo>
                          <a:lnTo>
                            <a:pt x="951" y="1314"/>
                          </a:lnTo>
                          <a:lnTo>
                            <a:pt x="1020" y="1355"/>
                          </a:lnTo>
                          <a:lnTo>
                            <a:pt x="1035" y="1327"/>
                          </a:lnTo>
                          <a:lnTo>
                            <a:pt x="1062" y="1353"/>
                          </a:lnTo>
                          <a:lnTo>
                            <a:pt x="1056" y="1369"/>
                          </a:lnTo>
                          <a:lnTo>
                            <a:pt x="1027" y="1371"/>
                          </a:lnTo>
                          <a:lnTo>
                            <a:pt x="1011" y="1383"/>
                          </a:lnTo>
                          <a:lnTo>
                            <a:pt x="1026" y="1405"/>
                          </a:lnTo>
                          <a:lnTo>
                            <a:pt x="960" y="1426"/>
                          </a:lnTo>
                          <a:lnTo>
                            <a:pt x="913" y="1402"/>
                          </a:lnTo>
                          <a:lnTo>
                            <a:pt x="900" y="1366"/>
                          </a:lnTo>
                          <a:lnTo>
                            <a:pt x="874" y="1372"/>
                          </a:lnTo>
                          <a:lnTo>
                            <a:pt x="877" y="1408"/>
                          </a:lnTo>
                          <a:lnTo>
                            <a:pt x="906" y="1449"/>
                          </a:lnTo>
                          <a:lnTo>
                            <a:pt x="877" y="1507"/>
                          </a:lnTo>
                          <a:lnTo>
                            <a:pt x="951" y="1512"/>
                          </a:lnTo>
                          <a:lnTo>
                            <a:pt x="943" y="1468"/>
                          </a:lnTo>
                          <a:lnTo>
                            <a:pt x="991" y="1474"/>
                          </a:lnTo>
                          <a:lnTo>
                            <a:pt x="1018" y="1441"/>
                          </a:lnTo>
                          <a:lnTo>
                            <a:pt x="1035" y="1494"/>
                          </a:lnTo>
                          <a:lnTo>
                            <a:pt x="1030" y="1534"/>
                          </a:lnTo>
                          <a:lnTo>
                            <a:pt x="1105" y="1509"/>
                          </a:lnTo>
                          <a:lnTo>
                            <a:pt x="1164" y="1488"/>
                          </a:lnTo>
                          <a:lnTo>
                            <a:pt x="1158" y="1449"/>
                          </a:lnTo>
                          <a:lnTo>
                            <a:pt x="1186" y="1465"/>
                          </a:lnTo>
                          <a:lnTo>
                            <a:pt x="1206" y="1444"/>
                          </a:lnTo>
                          <a:lnTo>
                            <a:pt x="1212" y="1488"/>
                          </a:lnTo>
                          <a:lnTo>
                            <a:pt x="1243" y="1473"/>
                          </a:lnTo>
                          <a:lnTo>
                            <a:pt x="1273" y="1495"/>
                          </a:lnTo>
                          <a:lnTo>
                            <a:pt x="1234" y="1545"/>
                          </a:lnTo>
                          <a:lnTo>
                            <a:pt x="1293" y="1581"/>
                          </a:lnTo>
                          <a:lnTo>
                            <a:pt x="1335" y="1569"/>
                          </a:lnTo>
                          <a:lnTo>
                            <a:pt x="1339" y="1668"/>
                          </a:lnTo>
                          <a:lnTo>
                            <a:pt x="1404" y="1675"/>
                          </a:lnTo>
                          <a:lnTo>
                            <a:pt x="1380" y="1731"/>
                          </a:lnTo>
                          <a:lnTo>
                            <a:pt x="1359" y="1761"/>
                          </a:lnTo>
                          <a:lnTo>
                            <a:pt x="1362" y="1803"/>
                          </a:lnTo>
                          <a:lnTo>
                            <a:pt x="1314" y="1792"/>
                          </a:lnTo>
                          <a:lnTo>
                            <a:pt x="1296" y="1846"/>
                          </a:lnTo>
                          <a:lnTo>
                            <a:pt x="1263" y="1807"/>
                          </a:lnTo>
                          <a:lnTo>
                            <a:pt x="1210" y="1821"/>
                          </a:lnTo>
                          <a:lnTo>
                            <a:pt x="1149" y="1807"/>
                          </a:lnTo>
                          <a:lnTo>
                            <a:pt x="1129" y="1869"/>
                          </a:lnTo>
                          <a:lnTo>
                            <a:pt x="1089" y="1863"/>
                          </a:lnTo>
                          <a:lnTo>
                            <a:pt x="1072" y="1888"/>
                          </a:lnTo>
                          <a:lnTo>
                            <a:pt x="1095" y="1929"/>
                          </a:lnTo>
                          <a:lnTo>
                            <a:pt x="1086" y="1966"/>
                          </a:lnTo>
                          <a:lnTo>
                            <a:pt x="1044" y="2020"/>
                          </a:lnTo>
                          <a:lnTo>
                            <a:pt x="1131" y="2023"/>
                          </a:lnTo>
                          <a:lnTo>
                            <a:pt x="1138" y="2056"/>
                          </a:lnTo>
                          <a:lnTo>
                            <a:pt x="1089" y="2106"/>
                          </a:lnTo>
                          <a:lnTo>
                            <a:pt x="990" y="2167"/>
                          </a:lnTo>
                          <a:lnTo>
                            <a:pt x="975" y="2149"/>
                          </a:lnTo>
                          <a:lnTo>
                            <a:pt x="940" y="2149"/>
                          </a:lnTo>
                          <a:lnTo>
                            <a:pt x="925" y="2178"/>
                          </a:lnTo>
                          <a:lnTo>
                            <a:pt x="864" y="2154"/>
                          </a:lnTo>
                          <a:lnTo>
                            <a:pt x="832" y="2170"/>
                          </a:lnTo>
                          <a:lnTo>
                            <a:pt x="840" y="2217"/>
                          </a:lnTo>
                          <a:lnTo>
                            <a:pt x="747" y="2211"/>
                          </a:lnTo>
                          <a:lnTo>
                            <a:pt x="726" y="2179"/>
                          </a:lnTo>
                          <a:lnTo>
                            <a:pt x="700" y="2187"/>
                          </a:lnTo>
                          <a:lnTo>
                            <a:pt x="678" y="2161"/>
                          </a:lnTo>
                          <a:lnTo>
                            <a:pt x="586" y="2088"/>
                          </a:lnTo>
                          <a:lnTo>
                            <a:pt x="522" y="2089"/>
                          </a:lnTo>
                          <a:lnTo>
                            <a:pt x="481" y="2046"/>
                          </a:lnTo>
                          <a:lnTo>
                            <a:pt x="444" y="2032"/>
                          </a:lnTo>
                          <a:lnTo>
                            <a:pt x="367" y="1954"/>
                          </a:lnTo>
                          <a:lnTo>
                            <a:pt x="298" y="1840"/>
                          </a:lnTo>
                          <a:lnTo>
                            <a:pt x="276" y="1854"/>
                          </a:lnTo>
                          <a:lnTo>
                            <a:pt x="222" y="1831"/>
                          </a:lnTo>
                          <a:close/>
                        </a:path>
                      </a:pathLst>
                    </a:custGeom>
                    <a:ln>
                      <a:headEnd type="none" w="med" len="med"/>
                      <a:tailEnd type="none" w="med" len="med"/>
                    </a:ln>
                    <a:extLst/>
                  </p:spPr>
                  <p:style>
                    <a:lnRef idx="2">
                      <a:schemeClr val="accent6">
                        <a:shade val="50000"/>
                      </a:schemeClr>
                    </a:lnRef>
                    <a:fillRef idx="1">
                      <a:schemeClr val="accent6"/>
                    </a:fillRef>
                    <a:effectRef idx="0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67" name="Freeform 66"/>
                    <p:cNvSpPr>
                      <a:spLocks/>
                    </p:cNvSpPr>
                    <p:nvPr/>
                  </p:nvSpPr>
                  <p:spPr bwMode="auto">
                    <a:xfrm>
                      <a:off x="3996" y="1856"/>
                      <a:ext cx="113" cy="181"/>
                    </a:xfrm>
                    <a:custGeom>
                      <a:avLst/>
                      <a:gdLst>
                        <a:gd name="T0" fmla="*/ 315 w 327"/>
                        <a:gd name="T1" fmla="*/ 253 h 529"/>
                        <a:gd name="T2" fmla="*/ 286 w 327"/>
                        <a:gd name="T3" fmla="*/ 276 h 529"/>
                        <a:gd name="T4" fmla="*/ 216 w 327"/>
                        <a:gd name="T5" fmla="*/ 274 h 529"/>
                        <a:gd name="T6" fmla="*/ 228 w 327"/>
                        <a:gd name="T7" fmla="*/ 328 h 529"/>
                        <a:gd name="T8" fmla="*/ 183 w 327"/>
                        <a:gd name="T9" fmla="*/ 417 h 529"/>
                        <a:gd name="T10" fmla="*/ 204 w 327"/>
                        <a:gd name="T11" fmla="*/ 456 h 529"/>
                        <a:gd name="T12" fmla="*/ 195 w 327"/>
                        <a:gd name="T13" fmla="*/ 507 h 529"/>
                        <a:gd name="T14" fmla="*/ 157 w 327"/>
                        <a:gd name="T15" fmla="*/ 529 h 529"/>
                        <a:gd name="T16" fmla="*/ 123 w 327"/>
                        <a:gd name="T17" fmla="*/ 508 h 529"/>
                        <a:gd name="T18" fmla="*/ 99 w 327"/>
                        <a:gd name="T19" fmla="*/ 451 h 529"/>
                        <a:gd name="T20" fmla="*/ 63 w 327"/>
                        <a:gd name="T21" fmla="*/ 438 h 529"/>
                        <a:gd name="T22" fmla="*/ 76 w 327"/>
                        <a:gd name="T23" fmla="*/ 495 h 529"/>
                        <a:gd name="T24" fmla="*/ 58 w 327"/>
                        <a:gd name="T25" fmla="*/ 493 h 529"/>
                        <a:gd name="T26" fmla="*/ 0 w 327"/>
                        <a:gd name="T27" fmla="*/ 351 h 529"/>
                        <a:gd name="T28" fmla="*/ 16 w 327"/>
                        <a:gd name="T29" fmla="*/ 232 h 529"/>
                        <a:gd name="T30" fmla="*/ 54 w 327"/>
                        <a:gd name="T31" fmla="*/ 169 h 529"/>
                        <a:gd name="T32" fmla="*/ 154 w 327"/>
                        <a:gd name="T33" fmla="*/ 109 h 529"/>
                        <a:gd name="T34" fmla="*/ 187 w 327"/>
                        <a:gd name="T35" fmla="*/ 130 h 529"/>
                        <a:gd name="T36" fmla="*/ 201 w 327"/>
                        <a:gd name="T37" fmla="*/ 91 h 529"/>
                        <a:gd name="T38" fmla="*/ 219 w 327"/>
                        <a:gd name="T39" fmla="*/ 49 h 529"/>
                        <a:gd name="T40" fmla="*/ 282 w 327"/>
                        <a:gd name="T41" fmla="*/ 0 h 529"/>
                        <a:gd name="T42" fmla="*/ 327 w 327"/>
                        <a:gd name="T43" fmla="*/ 142 h 529"/>
                        <a:gd name="T44" fmla="*/ 315 w 327"/>
                        <a:gd name="T45" fmla="*/ 253 h 52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327" h="529">
                          <a:moveTo>
                            <a:pt x="315" y="253"/>
                          </a:moveTo>
                          <a:lnTo>
                            <a:pt x="286" y="276"/>
                          </a:lnTo>
                          <a:lnTo>
                            <a:pt x="216" y="274"/>
                          </a:lnTo>
                          <a:lnTo>
                            <a:pt x="228" y="328"/>
                          </a:lnTo>
                          <a:lnTo>
                            <a:pt x="183" y="417"/>
                          </a:lnTo>
                          <a:lnTo>
                            <a:pt x="204" y="456"/>
                          </a:lnTo>
                          <a:lnTo>
                            <a:pt x="195" y="507"/>
                          </a:lnTo>
                          <a:lnTo>
                            <a:pt x="157" y="529"/>
                          </a:lnTo>
                          <a:lnTo>
                            <a:pt x="123" y="508"/>
                          </a:lnTo>
                          <a:lnTo>
                            <a:pt x="99" y="451"/>
                          </a:lnTo>
                          <a:lnTo>
                            <a:pt x="63" y="438"/>
                          </a:lnTo>
                          <a:lnTo>
                            <a:pt x="76" y="495"/>
                          </a:lnTo>
                          <a:lnTo>
                            <a:pt x="58" y="493"/>
                          </a:lnTo>
                          <a:lnTo>
                            <a:pt x="0" y="351"/>
                          </a:lnTo>
                          <a:lnTo>
                            <a:pt x="16" y="232"/>
                          </a:lnTo>
                          <a:lnTo>
                            <a:pt x="54" y="169"/>
                          </a:lnTo>
                          <a:lnTo>
                            <a:pt x="154" y="109"/>
                          </a:lnTo>
                          <a:lnTo>
                            <a:pt x="187" y="130"/>
                          </a:lnTo>
                          <a:lnTo>
                            <a:pt x="201" y="91"/>
                          </a:lnTo>
                          <a:lnTo>
                            <a:pt x="219" y="49"/>
                          </a:lnTo>
                          <a:lnTo>
                            <a:pt x="282" y="0"/>
                          </a:lnTo>
                          <a:lnTo>
                            <a:pt x="327" y="142"/>
                          </a:lnTo>
                          <a:lnTo>
                            <a:pt x="315" y="253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68" name="Freeform 67"/>
                    <p:cNvSpPr>
                      <a:spLocks/>
                    </p:cNvSpPr>
                    <p:nvPr/>
                  </p:nvSpPr>
                  <p:spPr bwMode="auto">
                    <a:xfrm>
                      <a:off x="3842" y="1690"/>
                      <a:ext cx="294" cy="113"/>
                    </a:xfrm>
                    <a:custGeom>
                      <a:avLst/>
                      <a:gdLst>
                        <a:gd name="T0" fmla="*/ 25 w 856"/>
                        <a:gd name="T1" fmla="*/ 159 h 328"/>
                        <a:gd name="T2" fmla="*/ 0 w 856"/>
                        <a:gd name="T3" fmla="*/ 258 h 328"/>
                        <a:gd name="T4" fmla="*/ 30 w 856"/>
                        <a:gd name="T5" fmla="*/ 291 h 328"/>
                        <a:gd name="T6" fmla="*/ 195 w 856"/>
                        <a:gd name="T7" fmla="*/ 328 h 328"/>
                        <a:gd name="T8" fmla="*/ 244 w 856"/>
                        <a:gd name="T9" fmla="*/ 295 h 328"/>
                        <a:gd name="T10" fmla="*/ 339 w 856"/>
                        <a:gd name="T11" fmla="*/ 313 h 328"/>
                        <a:gd name="T12" fmla="*/ 414 w 856"/>
                        <a:gd name="T13" fmla="*/ 276 h 328"/>
                        <a:gd name="T14" fmla="*/ 550 w 856"/>
                        <a:gd name="T15" fmla="*/ 310 h 328"/>
                        <a:gd name="T16" fmla="*/ 610 w 856"/>
                        <a:gd name="T17" fmla="*/ 264 h 328"/>
                        <a:gd name="T18" fmla="*/ 702 w 856"/>
                        <a:gd name="T19" fmla="*/ 282 h 328"/>
                        <a:gd name="T20" fmla="*/ 757 w 856"/>
                        <a:gd name="T21" fmla="*/ 319 h 328"/>
                        <a:gd name="T22" fmla="*/ 781 w 856"/>
                        <a:gd name="T23" fmla="*/ 321 h 328"/>
                        <a:gd name="T24" fmla="*/ 856 w 856"/>
                        <a:gd name="T25" fmla="*/ 261 h 328"/>
                        <a:gd name="T26" fmla="*/ 801 w 856"/>
                        <a:gd name="T27" fmla="*/ 129 h 328"/>
                        <a:gd name="T28" fmla="*/ 751 w 856"/>
                        <a:gd name="T29" fmla="*/ 91 h 328"/>
                        <a:gd name="T30" fmla="*/ 681 w 856"/>
                        <a:gd name="T31" fmla="*/ 97 h 328"/>
                        <a:gd name="T32" fmla="*/ 675 w 856"/>
                        <a:gd name="T33" fmla="*/ 66 h 328"/>
                        <a:gd name="T34" fmla="*/ 682 w 856"/>
                        <a:gd name="T35" fmla="*/ 34 h 328"/>
                        <a:gd name="T36" fmla="*/ 634 w 856"/>
                        <a:gd name="T37" fmla="*/ 0 h 328"/>
                        <a:gd name="T38" fmla="*/ 537 w 856"/>
                        <a:gd name="T39" fmla="*/ 7 h 328"/>
                        <a:gd name="T40" fmla="*/ 442 w 856"/>
                        <a:gd name="T41" fmla="*/ 102 h 328"/>
                        <a:gd name="T42" fmla="*/ 385 w 856"/>
                        <a:gd name="T43" fmla="*/ 106 h 328"/>
                        <a:gd name="T44" fmla="*/ 319 w 856"/>
                        <a:gd name="T45" fmla="*/ 58 h 328"/>
                        <a:gd name="T46" fmla="*/ 63 w 856"/>
                        <a:gd name="T47" fmla="*/ 70 h 328"/>
                        <a:gd name="T48" fmla="*/ 25 w 856"/>
                        <a:gd name="T49" fmla="*/ 159 h 3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</a:cxnLst>
                      <a:rect l="0" t="0" r="r" b="b"/>
                      <a:pathLst>
                        <a:path w="856" h="328">
                          <a:moveTo>
                            <a:pt x="25" y="159"/>
                          </a:moveTo>
                          <a:lnTo>
                            <a:pt x="0" y="258"/>
                          </a:lnTo>
                          <a:lnTo>
                            <a:pt x="30" y="291"/>
                          </a:lnTo>
                          <a:lnTo>
                            <a:pt x="195" y="328"/>
                          </a:lnTo>
                          <a:lnTo>
                            <a:pt x="244" y="295"/>
                          </a:lnTo>
                          <a:lnTo>
                            <a:pt x="339" y="313"/>
                          </a:lnTo>
                          <a:lnTo>
                            <a:pt x="414" y="276"/>
                          </a:lnTo>
                          <a:lnTo>
                            <a:pt x="550" y="310"/>
                          </a:lnTo>
                          <a:lnTo>
                            <a:pt x="610" y="264"/>
                          </a:lnTo>
                          <a:lnTo>
                            <a:pt x="702" y="282"/>
                          </a:lnTo>
                          <a:lnTo>
                            <a:pt x="757" y="319"/>
                          </a:lnTo>
                          <a:lnTo>
                            <a:pt x="781" y="321"/>
                          </a:lnTo>
                          <a:lnTo>
                            <a:pt x="856" y="261"/>
                          </a:lnTo>
                          <a:lnTo>
                            <a:pt x="801" y="129"/>
                          </a:lnTo>
                          <a:lnTo>
                            <a:pt x="751" y="91"/>
                          </a:lnTo>
                          <a:lnTo>
                            <a:pt x="681" y="97"/>
                          </a:lnTo>
                          <a:lnTo>
                            <a:pt x="675" y="66"/>
                          </a:lnTo>
                          <a:lnTo>
                            <a:pt x="682" y="34"/>
                          </a:lnTo>
                          <a:lnTo>
                            <a:pt x="634" y="0"/>
                          </a:lnTo>
                          <a:lnTo>
                            <a:pt x="537" y="7"/>
                          </a:lnTo>
                          <a:lnTo>
                            <a:pt x="442" y="102"/>
                          </a:lnTo>
                          <a:lnTo>
                            <a:pt x="385" y="106"/>
                          </a:lnTo>
                          <a:lnTo>
                            <a:pt x="319" y="58"/>
                          </a:lnTo>
                          <a:lnTo>
                            <a:pt x="63" y="70"/>
                          </a:lnTo>
                          <a:lnTo>
                            <a:pt x="25" y="159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69" name="Freeform 68"/>
                    <p:cNvSpPr>
                      <a:spLocks/>
                    </p:cNvSpPr>
                    <p:nvPr/>
                  </p:nvSpPr>
                  <p:spPr bwMode="auto">
                    <a:xfrm>
                      <a:off x="2243" y="1651"/>
                      <a:ext cx="902" cy="637"/>
                    </a:xfrm>
                    <a:custGeom>
                      <a:avLst/>
                      <a:gdLst>
                        <a:gd name="T0" fmla="*/ 218 w 2625"/>
                        <a:gd name="T1" fmla="*/ 1688 h 1862"/>
                        <a:gd name="T2" fmla="*/ 423 w 2625"/>
                        <a:gd name="T3" fmla="*/ 1763 h 1862"/>
                        <a:gd name="T4" fmla="*/ 620 w 2625"/>
                        <a:gd name="T5" fmla="*/ 1830 h 1862"/>
                        <a:gd name="T6" fmla="*/ 770 w 2625"/>
                        <a:gd name="T7" fmla="*/ 1835 h 1862"/>
                        <a:gd name="T8" fmla="*/ 816 w 2625"/>
                        <a:gd name="T9" fmla="*/ 1716 h 1862"/>
                        <a:gd name="T10" fmla="*/ 1029 w 2625"/>
                        <a:gd name="T11" fmla="*/ 1641 h 1862"/>
                        <a:gd name="T12" fmla="*/ 1014 w 2625"/>
                        <a:gd name="T13" fmla="*/ 1752 h 1862"/>
                        <a:gd name="T14" fmla="*/ 1311 w 2625"/>
                        <a:gd name="T15" fmla="*/ 1697 h 1862"/>
                        <a:gd name="T16" fmla="*/ 1484 w 2625"/>
                        <a:gd name="T17" fmla="*/ 1695 h 1862"/>
                        <a:gd name="T18" fmla="*/ 1719 w 2625"/>
                        <a:gd name="T19" fmla="*/ 1707 h 1862"/>
                        <a:gd name="T20" fmla="*/ 1871 w 2625"/>
                        <a:gd name="T21" fmla="*/ 1701 h 1862"/>
                        <a:gd name="T22" fmla="*/ 2009 w 2625"/>
                        <a:gd name="T23" fmla="*/ 1685 h 1862"/>
                        <a:gd name="T24" fmla="*/ 2129 w 2625"/>
                        <a:gd name="T25" fmla="*/ 1490 h 1862"/>
                        <a:gd name="T26" fmla="*/ 2313 w 2625"/>
                        <a:gd name="T27" fmla="*/ 1367 h 1862"/>
                        <a:gd name="T28" fmla="*/ 2417 w 2625"/>
                        <a:gd name="T29" fmla="*/ 1235 h 1862"/>
                        <a:gd name="T30" fmla="*/ 2378 w 2625"/>
                        <a:gd name="T31" fmla="*/ 1086 h 1862"/>
                        <a:gd name="T32" fmla="*/ 2261 w 2625"/>
                        <a:gd name="T33" fmla="*/ 1053 h 1862"/>
                        <a:gd name="T34" fmla="*/ 2291 w 2625"/>
                        <a:gd name="T35" fmla="*/ 954 h 1862"/>
                        <a:gd name="T36" fmla="*/ 2436 w 2625"/>
                        <a:gd name="T37" fmla="*/ 990 h 1862"/>
                        <a:gd name="T38" fmla="*/ 2621 w 2625"/>
                        <a:gd name="T39" fmla="*/ 936 h 1862"/>
                        <a:gd name="T40" fmla="*/ 2615 w 2625"/>
                        <a:gd name="T41" fmla="*/ 828 h 1862"/>
                        <a:gd name="T42" fmla="*/ 2544 w 2625"/>
                        <a:gd name="T43" fmla="*/ 711 h 1862"/>
                        <a:gd name="T44" fmla="*/ 2366 w 2625"/>
                        <a:gd name="T45" fmla="*/ 647 h 1862"/>
                        <a:gd name="T46" fmla="*/ 2267 w 2625"/>
                        <a:gd name="T47" fmla="*/ 561 h 1862"/>
                        <a:gd name="T48" fmla="*/ 2147 w 2625"/>
                        <a:gd name="T49" fmla="*/ 641 h 1862"/>
                        <a:gd name="T50" fmla="*/ 2010 w 2625"/>
                        <a:gd name="T51" fmla="*/ 558 h 1862"/>
                        <a:gd name="T52" fmla="*/ 1967 w 2625"/>
                        <a:gd name="T53" fmla="*/ 623 h 1862"/>
                        <a:gd name="T54" fmla="*/ 1868 w 2625"/>
                        <a:gd name="T55" fmla="*/ 498 h 1862"/>
                        <a:gd name="T56" fmla="*/ 1755 w 2625"/>
                        <a:gd name="T57" fmla="*/ 584 h 1862"/>
                        <a:gd name="T58" fmla="*/ 1638 w 2625"/>
                        <a:gd name="T59" fmla="*/ 522 h 1862"/>
                        <a:gd name="T60" fmla="*/ 1475 w 2625"/>
                        <a:gd name="T61" fmla="*/ 545 h 1862"/>
                        <a:gd name="T62" fmla="*/ 1455 w 2625"/>
                        <a:gd name="T63" fmla="*/ 456 h 1862"/>
                        <a:gd name="T64" fmla="*/ 1355 w 2625"/>
                        <a:gd name="T65" fmla="*/ 522 h 1862"/>
                        <a:gd name="T66" fmla="*/ 1421 w 2625"/>
                        <a:gd name="T67" fmla="*/ 737 h 1862"/>
                        <a:gd name="T68" fmla="*/ 1449 w 2625"/>
                        <a:gd name="T69" fmla="*/ 861 h 1862"/>
                        <a:gd name="T70" fmla="*/ 1302 w 2625"/>
                        <a:gd name="T71" fmla="*/ 827 h 1862"/>
                        <a:gd name="T72" fmla="*/ 1302 w 2625"/>
                        <a:gd name="T73" fmla="*/ 603 h 1862"/>
                        <a:gd name="T74" fmla="*/ 1431 w 2625"/>
                        <a:gd name="T75" fmla="*/ 420 h 1862"/>
                        <a:gd name="T76" fmla="*/ 1500 w 2625"/>
                        <a:gd name="T77" fmla="*/ 278 h 1862"/>
                        <a:gd name="T78" fmla="*/ 1517 w 2625"/>
                        <a:gd name="T79" fmla="*/ 102 h 1862"/>
                        <a:gd name="T80" fmla="*/ 1233 w 2625"/>
                        <a:gd name="T81" fmla="*/ 59 h 1862"/>
                        <a:gd name="T82" fmla="*/ 848 w 2625"/>
                        <a:gd name="T83" fmla="*/ 302 h 1862"/>
                        <a:gd name="T84" fmla="*/ 855 w 2625"/>
                        <a:gd name="T85" fmla="*/ 507 h 1862"/>
                        <a:gd name="T86" fmla="*/ 1019 w 2625"/>
                        <a:gd name="T87" fmla="*/ 573 h 1862"/>
                        <a:gd name="T88" fmla="*/ 839 w 2625"/>
                        <a:gd name="T89" fmla="*/ 677 h 1862"/>
                        <a:gd name="T90" fmla="*/ 842 w 2625"/>
                        <a:gd name="T91" fmla="*/ 755 h 1862"/>
                        <a:gd name="T92" fmla="*/ 812 w 2625"/>
                        <a:gd name="T93" fmla="*/ 869 h 1862"/>
                        <a:gd name="T94" fmla="*/ 663 w 2625"/>
                        <a:gd name="T95" fmla="*/ 807 h 1862"/>
                        <a:gd name="T96" fmla="*/ 513 w 2625"/>
                        <a:gd name="T97" fmla="*/ 989 h 1862"/>
                        <a:gd name="T98" fmla="*/ 563 w 2625"/>
                        <a:gd name="T99" fmla="*/ 896 h 1862"/>
                        <a:gd name="T100" fmla="*/ 542 w 2625"/>
                        <a:gd name="T101" fmla="*/ 779 h 1862"/>
                        <a:gd name="T102" fmla="*/ 510 w 2625"/>
                        <a:gd name="T103" fmla="*/ 689 h 1862"/>
                        <a:gd name="T104" fmla="*/ 438 w 2625"/>
                        <a:gd name="T105" fmla="*/ 665 h 1862"/>
                        <a:gd name="T106" fmla="*/ 404 w 2625"/>
                        <a:gd name="T107" fmla="*/ 564 h 1862"/>
                        <a:gd name="T108" fmla="*/ 272 w 2625"/>
                        <a:gd name="T109" fmla="*/ 603 h 1862"/>
                        <a:gd name="T110" fmla="*/ 261 w 2625"/>
                        <a:gd name="T111" fmla="*/ 663 h 1862"/>
                        <a:gd name="T112" fmla="*/ 293 w 2625"/>
                        <a:gd name="T113" fmla="*/ 833 h 1862"/>
                        <a:gd name="T114" fmla="*/ 267 w 2625"/>
                        <a:gd name="T115" fmla="*/ 1052 h 1862"/>
                        <a:gd name="T116" fmla="*/ 240 w 2625"/>
                        <a:gd name="T117" fmla="*/ 1161 h 1862"/>
                        <a:gd name="T118" fmla="*/ 150 w 2625"/>
                        <a:gd name="T119" fmla="*/ 1269 h 1862"/>
                        <a:gd name="T120" fmla="*/ 57 w 2625"/>
                        <a:gd name="T121" fmla="*/ 1395 h 1862"/>
                        <a:gd name="T122" fmla="*/ 41 w 2625"/>
                        <a:gd name="T123" fmla="*/ 1481 h 1862"/>
                        <a:gd name="T124" fmla="*/ 126 w 2625"/>
                        <a:gd name="T125" fmla="*/ 1532 h 186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  <a:cxn ang="0">
                          <a:pos x="T124" y="T125"/>
                        </a:cxn>
                      </a:cxnLst>
                      <a:rect l="0" t="0" r="r" b="b"/>
                      <a:pathLst>
                        <a:path w="2625" h="1862">
                          <a:moveTo>
                            <a:pt x="126" y="1532"/>
                          </a:moveTo>
                          <a:lnTo>
                            <a:pt x="155" y="1571"/>
                          </a:lnTo>
                          <a:lnTo>
                            <a:pt x="138" y="1641"/>
                          </a:lnTo>
                          <a:lnTo>
                            <a:pt x="218" y="1688"/>
                          </a:lnTo>
                          <a:lnTo>
                            <a:pt x="231" y="1665"/>
                          </a:lnTo>
                          <a:lnTo>
                            <a:pt x="288" y="1676"/>
                          </a:lnTo>
                          <a:lnTo>
                            <a:pt x="327" y="1745"/>
                          </a:lnTo>
                          <a:lnTo>
                            <a:pt x="423" y="1763"/>
                          </a:lnTo>
                          <a:lnTo>
                            <a:pt x="431" y="1737"/>
                          </a:lnTo>
                          <a:lnTo>
                            <a:pt x="513" y="1758"/>
                          </a:lnTo>
                          <a:lnTo>
                            <a:pt x="621" y="1760"/>
                          </a:lnTo>
                          <a:lnTo>
                            <a:pt x="620" y="1830"/>
                          </a:lnTo>
                          <a:lnTo>
                            <a:pt x="644" y="1862"/>
                          </a:lnTo>
                          <a:lnTo>
                            <a:pt x="687" y="1856"/>
                          </a:lnTo>
                          <a:lnTo>
                            <a:pt x="749" y="1818"/>
                          </a:lnTo>
                          <a:lnTo>
                            <a:pt x="770" y="1835"/>
                          </a:lnTo>
                          <a:lnTo>
                            <a:pt x="789" y="1808"/>
                          </a:lnTo>
                          <a:lnTo>
                            <a:pt x="783" y="1767"/>
                          </a:lnTo>
                          <a:lnTo>
                            <a:pt x="843" y="1736"/>
                          </a:lnTo>
                          <a:lnTo>
                            <a:pt x="816" y="1716"/>
                          </a:lnTo>
                          <a:lnTo>
                            <a:pt x="824" y="1688"/>
                          </a:lnTo>
                          <a:lnTo>
                            <a:pt x="879" y="1691"/>
                          </a:lnTo>
                          <a:lnTo>
                            <a:pt x="914" y="1653"/>
                          </a:lnTo>
                          <a:lnTo>
                            <a:pt x="1029" y="1641"/>
                          </a:lnTo>
                          <a:lnTo>
                            <a:pt x="1061" y="1673"/>
                          </a:lnTo>
                          <a:lnTo>
                            <a:pt x="1059" y="1709"/>
                          </a:lnTo>
                          <a:lnTo>
                            <a:pt x="1004" y="1722"/>
                          </a:lnTo>
                          <a:lnTo>
                            <a:pt x="1014" y="1752"/>
                          </a:lnTo>
                          <a:lnTo>
                            <a:pt x="1082" y="1778"/>
                          </a:lnTo>
                          <a:lnTo>
                            <a:pt x="1203" y="1767"/>
                          </a:lnTo>
                          <a:lnTo>
                            <a:pt x="1262" y="1713"/>
                          </a:lnTo>
                          <a:lnTo>
                            <a:pt x="1311" y="1697"/>
                          </a:lnTo>
                          <a:lnTo>
                            <a:pt x="1335" y="1730"/>
                          </a:lnTo>
                          <a:lnTo>
                            <a:pt x="1401" y="1745"/>
                          </a:lnTo>
                          <a:lnTo>
                            <a:pt x="1473" y="1743"/>
                          </a:lnTo>
                          <a:lnTo>
                            <a:pt x="1484" y="1695"/>
                          </a:lnTo>
                          <a:lnTo>
                            <a:pt x="1563" y="1671"/>
                          </a:lnTo>
                          <a:lnTo>
                            <a:pt x="1646" y="1697"/>
                          </a:lnTo>
                          <a:lnTo>
                            <a:pt x="1665" y="1737"/>
                          </a:lnTo>
                          <a:lnTo>
                            <a:pt x="1719" y="1707"/>
                          </a:lnTo>
                          <a:lnTo>
                            <a:pt x="1734" y="1724"/>
                          </a:lnTo>
                          <a:lnTo>
                            <a:pt x="1811" y="1730"/>
                          </a:lnTo>
                          <a:lnTo>
                            <a:pt x="1827" y="1698"/>
                          </a:lnTo>
                          <a:lnTo>
                            <a:pt x="1871" y="1701"/>
                          </a:lnTo>
                          <a:lnTo>
                            <a:pt x="1922" y="1769"/>
                          </a:lnTo>
                          <a:lnTo>
                            <a:pt x="1998" y="1799"/>
                          </a:lnTo>
                          <a:lnTo>
                            <a:pt x="2016" y="1760"/>
                          </a:lnTo>
                          <a:lnTo>
                            <a:pt x="2009" y="1685"/>
                          </a:lnTo>
                          <a:lnTo>
                            <a:pt x="2060" y="1628"/>
                          </a:lnTo>
                          <a:lnTo>
                            <a:pt x="2058" y="1554"/>
                          </a:lnTo>
                          <a:lnTo>
                            <a:pt x="2097" y="1556"/>
                          </a:lnTo>
                          <a:lnTo>
                            <a:pt x="2129" y="1490"/>
                          </a:lnTo>
                          <a:lnTo>
                            <a:pt x="2129" y="1434"/>
                          </a:lnTo>
                          <a:lnTo>
                            <a:pt x="2187" y="1416"/>
                          </a:lnTo>
                          <a:lnTo>
                            <a:pt x="2223" y="1437"/>
                          </a:lnTo>
                          <a:lnTo>
                            <a:pt x="2313" y="1367"/>
                          </a:lnTo>
                          <a:lnTo>
                            <a:pt x="2328" y="1298"/>
                          </a:lnTo>
                          <a:lnTo>
                            <a:pt x="2373" y="1292"/>
                          </a:lnTo>
                          <a:lnTo>
                            <a:pt x="2378" y="1241"/>
                          </a:lnTo>
                          <a:lnTo>
                            <a:pt x="2417" y="1235"/>
                          </a:lnTo>
                          <a:lnTo>
                            <a:pt x="2447" y="1172"/>
                          </a:lnTo>
                          <a:lnTo>
                            <a:pt x="2427" y="1127"/>
                          </a:lnTo>
                          <a:lnTo>
                            <a:pt x="2381" y="1124"/>
                          </a:lnTo>
                          <a:lnTo>
                            <a:pt x="2378" y="1086"/>
                          </a:lnTo>
                          <a:lnTo>
                            <a:pt x="2334" y="1092"/>
                          </a:lnTo>
                          <a:lnTo>
                            <a:pt x="2316" y="1073"/>
                          </a:lnTo>
                          <a:lnTo>
                            <a:pt x="2277" y="1097"/>
                          </a:lnTo>
                          <a:lnTo>
                            <a:pt x="2261" y="1053"/>
                          </a:lnTo>
                          <a:lnTo>
                            <a:pt x="2280" y="1052"/>
                          </a:lnTo>
                          <a:lnTo>
                            <a:pt x="2300" y="1011"/>
                          </a:lnTo>
                          <a:lnTo>
                            <a:pt x="2271" y="971"/>
                          </a:lnTo>
                          <a:lnTo>
                            <a:pt x="2291" y="954"/>
                          </a:lnTo>
                          <a:lnTo>
                            <a:pt x="2345" y="1004"/>
                          </a:lnTo>
                          <a:lnTo>
                            <a:pt x="2349" y="971"/>
                          </a:lnTo>
                          <a:lnTo>
                            <a:pt x="2387" y="966"/>
                          </a:lnTo>
                          <a:lnTo>
                            <a:pt x="2436" y="990"/>
                          </a:lnTo>
                          <a:lnTo>
                            <a:pt x="2499" y="987"/>
                          </a:lnTo>
                          <a:lnTo>
                            <a:pt x="2543" y="999"/>
                          </a:lnTo>
                          <a:lnTo>
                            <a:pt x="2594" y="965"/>
                          </a:lnTo>
                          <a:lnTo>
                            <a:pt x="2621" y="936"/>
                          </a:lnTo>
                          <a:lnTo>
                            <a:pt x="2613" y="905"/>
                          </a:lnTo>
                          <a:lnTo>
                            <a:pt x="2571" y="882"/>
                          </a:lnTo>
                          <a:lnTo>
                            <a:pt x="2610" y="867"/>
                          </a:lnTo>
                          <a:lnTo>
                            <a:pt x="2615" y="828"/>
                          </a:lnTo>
                          <a:lnTo>
                            <a:pt x="2583" y="777"/>
                          </a:lnTo>
                          <a:lnTo>
                            <a:pt x="2625" y="740"/>
                          </a:lnTo>
                          <a:lnTo>
                            <a:pt x="2586" y="701"/>
                          </a:lnTo>
                          <a:lnTo>
                            <a:pt x="2544" y="711"/>
                          </a:lnTo>
                          <a:lnTo>
                            <a:pt x="2508" y="704"/>
                          </a:lnTo>
                          <a:lnTo>
                            <a:pt x="2490" y="744"/>
                          </a:lnTo>
                          <a:lnTo>
                            <a:pt x="2445" y="677"/>
                          </a:lnTo>
                          <a:lnTo>
                            <a:pt x="2366" y="647"/>
                          </a:lnTo>
                          <a:lnTo>
                            <a:pt x="2358" y="602"/>
                          </a:lnTo>
                          <a:lnTo>
                            <a:pt x="2325" y="581"/>
                          </a:lnTo>
                          <a:lnTo>
                            <a:pt x="2276" y="597"/>
                          </a:lnTo>
                          <a:lnTo>
                            <a:pt x="2267" y="561"/>
                          </a:lnTo>
                          <a:lnTo>
                            <a:pt x="2240" y="524"/>
                          </a:lnTo>
                          <a:lnTo>
                            <a:pt x="2220" y="584"/>
                          </a:lnTo>
                          <a:lnTo>
                            <a:pt x="2178" y="533"/>
                          </a:lnTo>
                          <a:lnTo>
                            <a:pt x="2147" y="641"/>
                          </a:lnTo>
                          <a:lnTo>
                            <a:pt x="2037" y="635"/>
                          </a:lnTo>
                          <a:lnTo>
                            <a:pt x="2057" y="605"/>
                          </a:lnTo>
                          <a:lnTo>
                            <a:pt x="2055" y="549"/>
                          </a:lnTo>
                          <a:lnTo>
                            <a:pt x="2010" y="558"/>
                          </a:lnTo>
                          <a:lnTo>
                            <a:pt x="2001" y="591"/>
                          </a:lnTo>
                          <a:lnTo>
                            <a:pt x="1979" y="561"/>
                          </a:lnTo>
                          <a:lnTo>
                            <a:pt x="1949" y="582"/>
                          </a:lnTo>
                          <a:lnTo>
                            <a:pt x="1967" y="623"/>
                          </a:lnTo>
                          <a:lnTo>
                            <a:pt x="1926" y="624"/>
                          </a:lnTo>
                          <a:lnTo>
                            <a:pt x="1878" y="591"/>
                          </a:lnTo>
                          <a:lnTo>
                            <a:pt x="1926" y="542"/>
                          </a:lnTo>
                          <a:lnTo>
                            <a:pt x="1868" y="498"/>
                          </a:lnTo>
                          <a:lnTo>
                            <a:pt x="1889" y="465"/>
                          </a:lnTo>
                          <a:lnTo>
                            <a:pt x="1809" y="501"/>
                          </a:lnTo>
                          <a:lnTo>
                            <a:pt x="1754" y="537"/>
                          </a:lnTo>
                          <a:lnTo>
                            <a:pt x="1755" y="584"/>
                          </a:lnTo>
                          <a:lnTo>
                            <a:pt x="1662" y="557"/>
                          </a:lnTo>
                          <a:lnTo>
                            <a:pt x="1631" y="599"/>
                          </a:lnTo>
                          <a:lnTo>
                            <a:pt x="1611" y="579"/>
                          </a:lnTo>
                          <a:lnTo>
                            <a:pt x="1638" y="522"/>
                          </a:lnTo>
                          <a:lnTo>
                            <a:pt x="1605" y="512"/>
                          </a:lnTo>
                          <a:lnTo>
                            <a:pt x="1557" y="576"/>
                          </a:lnTo>
                          <a:lnTo>
                            <a:pt x="1497" y="527"/>
                          </a:lnTo>
                          <a:lnTo>
                            <a:pt x="1475" y="545"/>
                          </a:lnTo>
                          <a:lnTo>
                            <a:pt x="1445" y="522"/>
                          </a:lnTo>
                          <a:lnTo>
                            <a:pt x="1488" y="497"/>
                          </a:lnTo>
                          <a:lnTo>
                            <a:pt x="1491" y="456"/>
                          </a:lnTo>
                          <a:lnTo>
                            <a:pt x="1455" y="456"/>
                          </a:lnTo>
                          <a:lnTo>
                            <a:pt x="1475" y="422"/>
                          </a:lnTo>
                          <a:lnTo>
                            <a:pt x="1398" y="467"/>
                          </a:lnTo>
                          <a:lnTo>
                            <a:pt x="1371" y="494"/>
                          </a:lnTo>
                          <a:lnTo>
                            <a:pt x="1355" y="522"/>
                          </a:lnTo>
                          <a:lnTo>
                            <a:pt x="1379" y="549"/>
                          </a:lnTo>
                          <a:lnTo>
                            <a:pt x="1406" y="636"/>
                          </a:lnTo>
                          <a:lnTo>
                            <a:pt x="1442" y="705"/>
                          </a:lnTo>
                          <a:lnTo>
                            <a:pt x="1421" y="737"/>
                          </a:lnTo>
                          <a:lnTo>
                            <a:pt x="1478" y="747"/>
                          </a:lnTo>
                          <a:lnTo>
                            <a:pt x="1491" y="800"/>
                          </a:lnTo>
                          <a:lnTo>
                            <a:pt x="1484" y="831"/>
                          </a:lnTo>
                          <a:lnTo>
                            <a:pt x="1449" y="861"/>
                          </a:lnTo>
                          <a:lnTo>
                            <a:pt x="1392" y="848"/>
                          </a:lnTo>
                          <a:lnTo>
                            <a:pt x="1370" y="807"/>
                          </a:lnTo>
                          <a:lnTo>
                            <a:pt x="1334" y="825"/>
                          </a:lnTo>
                          <a:lnTo>
                            <a:pt x="1302" y="827"/>
                          </a:lnTo>
                          <a:lnTo>
                            <a:pt x="1271" y="755"/>
                          </a:lnTo>
                          <a:lnTo>
                            <a:pt x="1296" y="713"/>
                          </a:lnTo>
                          <a:lnTo>
                            <a:pt x="1256" y="645"/>
                          </a:lnTo>
                          <a:lnTo>
                            <a:pt x="1302" y="603"/>
                          </a:lnTo>
                          <a:lnTo>
                            <a:pt x="1319" y="543"/>
                          </a:lnTo>
                          <a:lnTo>
                            <a:pt x="1295" y="489"/>
                          </a:lnTo>
                          <a:lnTo>
                            <a:pt x="1325" y="435"/>
                          </a:lnTo>
                          <a:lnTo>
                            <a:pt x="1431" y="420"/>
                          </a:lnTo>
                          <a:lnTo>
                            <a:pt x="1440" y="371"/>
                          </a:lnTo>
                          <a:lnTo>
                            <a:pt x="1478" y="356"/>
                          </a:lnTo>
                          <a:lnTo>
                            <a:pt x="1476" y="302"/>
                          </a:lnTo>
                          <a:lnTo>
                            <a:pt x="1500" y="278"/>
                          </a:lnTo>
                          <a:lnTo>
                            <a:pt x="1488" y="251"/>
                          </a:lnTo>
                          <a:lnTo>
                            <a:pt x="1520" y="201"/>
                          </a:lnTo>
                          <a:lnTo>
                            <a:pt x="1533" y="164"/>
                          </a:lnTo>
                          <a:lnTo>
                            <a:pt x="1517" y="102"/>
                          </a:lnTo>
                          <a:lnTo>
                            <a:pt x="1436" y="24"/>
                          </a:lnTo>
                          <a:lnTo>
                            <a:pt x="1343" y="26"/>
                          </a:lnTo>
                          <a:lnTo>
                            <a:pt x="1310" y="0"/>
                          </a:lnTo>
                          <a:lnTo>
                            <a:pt x="1233" y="59"/>
                          </a:lnTo>
                          <a:lnTo>
                            <a:pt x="1176" y="66"/>
                          </a:lnTo>
                          <a:lnTo>
                            <a:pt x="1082" y="147"/>
                          </a:lnTo>
                          <a:lnTo>
                            <a:pt x="920" y="236"/>
                          </a:lnTo>
                          <a:lnTo>
                            <a:pt x="848" y="302"/>
                          </a:lnTo>
                          <a:lnTo>
                            <a:pt x="776" y="329"/>
                          </a:lnTo>
                          <a:lnTo>
                            <a:pt x="768" y="440"/>
                          </a:lnTo>
                          <a:lnTo>
                            <a:pt x="798" y="486"/>
                          </a:lnTo>
                          <a:lnTo>
                            <a:pt x="855" y="507"/>
                          </a:lnTo>
                          <a:lnTo>
                            <a:pt x="965" y="506"/>
                          </a:lnTo>
                          <a:lnTo>
                            <a:pt x="995" y="456"/>
                          </a:lnTo>
                          <a:lnTo>
                            <a:pt x="1014" y="521"/>
                          </a:lnTo>
                          <a:lnTo>
                            <a:pt x="1019" y="573"/>
                          </a:lnTo>
                          <a:lnTo>
                            <a:pt x="950" y="579"/>
                          </a:lnTo>
                          <a:lnTo>
                            <a:pt x="885" y="587"/>
                          </a:lnTo>
                          <a:lnTo>
                            <a:pt x="852" y="629"/>
                          </a:lnTo>
                          <a:lnTo>
                            <a:pt x="839" y="677"/>
                          </a:lnTo>
                          <a:lnTo>
                            <a:pt x="890" y="683"/>
                          </a:lnTo>
                          <a:lnTo>
                            <a:pt x="935" y="728"/>
                          </a:lnTo>
                          <a:lnTo>
                            <a:pt x="905" y="782"/>
                          </a:lnTo>
                          <a:lnTo>
                            <a:pt x="842" y="755"/>
                          </a:lnTo>
                          <a:lnTo>
                            <a:pt x="858" y="813"/>
                          </a:lnTo>
                          <a:lnTo>
                            <a:pt x="890" y="863"/>
                          </a:lnTo>
                          <a:lnTo>
                            <a:pt x="866" y="894"/>
                          </a:lnTo>
                          <a:lnTo>
                            <a:pt x="812" y="869"/>
                          </a:lnTo>
                          <a:lnTo>
                            <a:pt x="816" y="825"/>
                          </a:lnTo>
                          <a:lnTo>
                            <a:pt x="758" y="866"/>
                          </a:lnTo>
                          <a:lnTo>
                            <a:pt x="704" y="843"/>
                          </a:lnTo>
                          <a:lnTo>
                            <a:pt x="663" y="807"/>
                          </a:lnTo>
                          <a:lnTo>
                            <a:pt x="647" y="879"/>
                          </a:lnTo>
                          <a:lnTo>
                            <a:pt x="597" y="944"/>
                          </a:lnTo>
                          <a:lnTo>
                            <a:pt x="540" y="962"/>
                          </a:lnTo>
                          <a:lnTo>
                            <a:pt x="513" y="989"/>
                          </a:lnTo>
                          <a:lnTo>
                            <a:pt x="474" y="984"/>
                          </a:lnTo>
                          <a:lnTo>
                            <a:pt x="468" y="909"/>
                          </a:lnTo>
                          <a:lnTo>
                            <a:pt x="534" y="920"/>
                          </a:lnTo>
                          <a:lnTo>
                            <a:pt x="563" y="896"/>
                          </a:lnTo>
                          <a:lnTo>
                            <a:pt x="546" y="870"/>
                          </a:lnTo>
                          <a:lnTo>
                            <a:pt x="567" y="834"/>
                          </a:lnTo>
                          <a:lnTo>
                            <a:pt x="537" y="812"/>
                          </a:lnTo>
                          <a:lnTo>
                            <a:pt x="542" y="779"/>
                          </a:lnTo>
                          <a:lnTo>
                            <a:pt x="576" y="774"/>
                          </a:lnTo>
                          <a:lnTo>
                            <a:pt x="585" y="744"/>
                          </a:lnTo>
                          <a:lnTo>
                            <a:pt x="569" y="674"/>
                          </a:lnTo>
                          <a:lnTo>
                            <a:pt x="510" y="689"/>
                          </a:lnTo>
                          <a:lnTo>
                            <a:pt x="462" y="698"/>
                          </a:lnTo>
                          <a:lnTo>
                            <a:pt x="398" y="687"/>
                          </a:lnTo>
                          <a:lnTo>
                            <a:pt x="383" y="662"/>
                          </a:lnTo>
                          <a:lnTo>
                            <a:pt x="438" y="665"/>
                          </a:lnTo>
                          <a:lnTo>
                            <a:pt x="464" y="626"/>
                          </a:lnTo>
                          <a:lnTo>
                            <a:pt x="431" y="627"/>
                          </a:lnTo>
                          <a:lnTo>
                            <a:pt x="440" y="594"/>
                          </a:lnTo>
                          <a:lnTo>
                            <a:pt x="404" y="564"/>
                          </a:lnTo>
                          <a:lnTo>
                            <a:pt x="365" y="585"/>
                          </a:lnTo>
                          <a:lnTo>
                            <a:pt x="356" y="636"/>
                          </a:lnTo>
                          <a:lnTo>
                            <a:pt x="312" y="627"/>
                          </a:lnTo>
                          <a:lnTo>
                            <a:pt x="272" y="603"/>
                          </a:lnTo>
                          <a:lnTo>
                            <a:pt x="275" y="650"/>
                          </a:lnTo>
                          <a:lnTo>
                            <a:pt x="320" y="675"/>
                          </a:lnTo>
                          <a:lnTo>
                            <a:pt x="306" y="714"/>
                          </a:lnTo>
                          <a:lnTo>
                            <a:pt x="261" y="663"/>
                          </a:lnTo>
                          <a:lnTo>
                            <a:pt x="236" y="737"/>
                          </a:lnTo>
                          <a:lnTo>
                            <a:pt x="264" y="761"/>
                          </a:lnTo>
                          <a:lnTo>
                            <a:pt x="245" y="818"/>
                          </a:lnTo>
                          <a:lnTo>
                            <a:pt x="293" y="833"/>
                          </a:lnTo>
                          <a:lnTo>
                            <a:pt x="312" y="914"/>
                          </a:lnTo>
                          <a:lnTo>
                            <a:pt x="290" y="935"/>
                          </a:lnTo>
                          <a:lnTo>
                            <a:pt x="285" y="996"/>
                          </a:lnTo>
                          <a:lnTo>
                            <a:pt x="267" y="1052"/>
                          </a:lnTo>
                          <a:lnTo>
                            <a:pt x="200" y="1071"/>
                          </a:lnTo>
                          <a:lnTo>
                            <a:pt x="171" y="1107"/>
                          </a:lnTo>
                          <a:lnTo>
                            <a:pt x="188" y="1145"/>
                          </a:lnTo>
                          <a:lnTo>
                            <a:pt x="240" y="1161"/>
                          </a:lnTo>
                          <a:lnTo>
                            <a:pt x="147" y="1202"/>
                          </a:lnTo>
                          <a:lnTo>
                            <a:pt x="105" y="1187"/>
                          </a:lnTo>
                          <a:lnTo>
                            <a:pt x="113" y="1248"/>
                          </a:lnTo>
                          <a:lnTo>
                            <a:pt x="150" y="1269"/>
                          </a:lnTo>
                          <a:lnTo>
                            <a:pt x="99" y="1341"/>
                          </a:lnTo>
                          <a:lnTo>
                            <a:pt x="2" y="1365"/>
                          </a:lnTo>
                          <a:lnTo>
                            <a:pt x="5" y="1395"/>
                          </a:lnTo>
                          <a:lnTo>
                            <a:pt x="57" y="1395"/>
                          </a:lnTo>
                          <a:lnTo>
                            <a:pt x="78" y="1416"/>
                          </a:lnTo>
                          <a:lnTo>
                            <a:pt x="17" y="1427"/>
                          </a:lnTo>
                          <a:lnTo>
                            <a:pt x="12" y="1452"/>
                          </a:lnTo>
                          <a:lnTo>
                            <a:pt x="41" y="1481"/>
                          </a:lnTo>
                          <a:lnTo>
                            <a:pt x="36" y="1523"/>
                          </a:lnTo>
                          <a:lnTo>
                            <a:pt x="0" y="1563"/>
                          </a:lnTo>
                          <a:lnTo>
                            <a:pt x="54" y="1571"/>
                          </a:lnTo>
                          <a:lnTo>
                            <a:pt x="126" y="1532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70" name="Freeform 69"/>
                    <p:cNvSpPr>
                      <a:spLocks/>
                    </p:cNvSpPr>
                    <p:nvPr/>
                  </p:nvSpPr>
                  <p:spPr bwMode="auto">
                    <a:xfrm>
                      <a:off x="2886" y="1956"/>
                      <a:ext cx="420" cy="702"/>
                    </a:xfrm>
                    <a:custGeom>
                      <a:avLst/>
                      <a:gdLst>
                        <a:gd name="T0" fmla="*/ 57 w 1225"/>
                        <a:gd name="T1" fmla="*/ 1011 h 2050"/>
                        <a:gd name="T2" fmla="*/ 123 w 1225"/>
                        <a:gd name="T3" fmla="*/ 906 h 2050"/>
                        <a:gd name="T4" fmla="*/ 135 w 1225"/>
                        <a:gd name="T5" fmla="*/ 790 h 2050"/>
                        <a:gd name="T6" fmla="*/ 186 w 1225"/>
                        <a:gd name="T7" fmla="*/ 660 h 2050"/>
                        <a:gd name="T8" fmla="*/ 258 w 1225"/>
                        <a:gd name="T9" fmla="*/ 598 h 2050"/>
                        <a:gd name="T10" fmla="*/ 315 w 1225"/>
                        <a:gd name="T11" fmla="*/ 523 h 2050"/>
                        <a:gd name="T12" fmla="*/ 439 w 1225"/>
                        <a:gd name="T13" fmla="*/ 475 h 2050"/>
                        <a:gd name="T14" fmla="*/ 502 w 1225"/>
                        <a:gd name="T15" fmla="*/ 399 h 2050"/>
                        <a:gd name="T16" fmla="*/ 546 w 1225"/>
                        <a:gd name="T17" fmla="*/ 339 h 2050"/>
                        <a:gd name="T18" fmla="*/ 558 w 1225"/>
                        <a:gd name="T19" fmla="*/ 234 h 2050"/>
                        <a:gd name="T20" fmla="*/ 505 w 1225"/>
                        <a:gd name="T21" fmla="*/ 193 h 2050"/>
                        <a:gd name="T22" fmla="*/ 444 w 1225"/>
                        <a:gd name="T23" fmla="*/ 178 h 2050"/>
                        <a:gd name="T24" fmla="*/ 388 w 1225"/>
                        <a:gd name="T25" fmla="*/ 160 h 2050"/>
                        <a:gd name="T26" fmla="*/ 424 w 1225"/>
                        <a:gd name="T27" fmla="*/ 118 h 2050"/>
                        <a:gd name="T28" fmla="*/ 421 w 1225"/>
                        <a:gd name="T29" fmla="*/ 60 h 2050"/>
                        <a:gd name="T30" fmla="*/ 475 w 1225"/>
                        <a:gd name="T31" fmla="*/ 75 h 2050"/>
                        <a:gd name="T32" fmla="*/ 565 w 1225"/>
                        <a:gd name="T33" fmla="*/ 94 h 2050"/>
                        <a:gd name="T34" fmla="*/ 670 w 1225"/>
                        <a:gd name="T35" fmla="*/ 106 h 2050"/>
                        <a:gd name="T36" fmla="*/ 748 w 1225"/>
                        <a:gd name="T37" fmla="*/ 42 h 2050"/>
                        <a:gd name="T38" fmla="*/ 783 w 1225"/>
                        <a:gd name="T39" fmla="*/ 79 h 2050"/>
                        <a:gd name="T40" fmla="*/ 879 w 1225"/>
                        <a:gd name="T41" fmla="*/ 24 h 2050"/>
                        <a:gd name="T42" fmla="*/ 1051 w 1225"/>
                        <a:gd name="T43" fmla="*/ 102 h 2050"/>
                        <a:gd name="T44" fmla="*/ 1077 w 1225"/>
                        <a:gd name="T45" fmla="*/ 162 h 2050"/>
                        <a:gd name="T46" fmla="*/ 1134 w 1225"/>
                        <a:gd name="T47" fmla="*/ 162 h 2050"/>
                        <a:gd name="T48" fmla="*/ 1138 w 1225"/>
                        <a:gd name="T49" fmla="*/ 238 h 2050"/>
                        <a:gd name="T50" fmla="*/ 1164 w 1225"/>
                        <a:gd name="T51" fmla="*/ 345 h 2050"/>
                        <a:gd name="T52" fmla="*/ 1225 w 1225"/>
                        <a:gd name="T53" fmla="*/ 391 h 2050"/>
                        <a:gd name="T54" fmla="*/ 1125 w 1225"/>
                        <a:gd name="T55" fmla="*/ 486 h 2050"/>
                        <a:gd name="T56" fmla="*/ 1117 w 1225"/>
                        <a:gd name="T57" fmla="*/ 556 h 2050"/>
                        <a:gd name="T58" fmla="*/ 988 w 1225"/>
                        <a:gd name="T59" fmla="*/ 645 h 2050"/>
                        <a:gd name="T60" fmla="*/ 987 w 1225"/>
                        <a:gd name="T61" fmla="*/ 720 h 2050"/>
                        <a:gd name="T62" fmla="*/ 942 w 1225"/>
                        <a:gd name="T63" fmla="*/ 853 h 2050"/>
                        <a:gd name="T64" fmla="*/ 858 w 1225"/>
                        <a:gd name="T65" fmla="*/ 948 h 2050"/>
                        <a:gd name="T66" fmla="*/ 714 w 1225"/>
                        <a:gd name="T67" fmla="*/ 978 h 2050"/>
                        <a:gd name="T68" fmla="*/ 634 w 1225"/>
                        <a:gd name="T69" fmla="*/ 1063 h 2050"/>
                        <a:gd name="T70" fmla="*/ 657 w 1225"/>
                        <a:gd name="T71" fmla="*/ 1225 h 2050"/>
                        <a:gd name="T72" fmla="*/ 720 w 1225"/>
                        <a:gd name="T73" fmla="*/ 1323 h 2050"/>
                        <a:gd name="T74" fmla="*/ 747 w 1225"/>
                        <a:gd name="T75" fmla="*/ 1393 h 2050"/>
                        <a:gd name="T76" fmla="*/ 642 w 1225"/>
                        <a:gd name="T77" fmla="*/ 1368 h 2050"/>
                        <a:gd name="T78" fmla="*/ 516 w 1225"/>
                        <a:gd name="T79" fmla="*/ 1297 h 2050"/>
                        <a:gd name="T80" fmla="*/ 543 w 1225"/>
                        <a:gd name="T81" fmla="*/ 1398 h 2050"/>
                        <a:gd name="T82" fmla="*/ 585 w 1225"/>
                        <a:gd name="T83" fmla="*/ 1501 h 2050"/>
                        <a:gd name="T84" fmla="*/ 616 w 1225"/>
                        <a:gd name="T85" fmla="*/ 1657 h 2050"/>
                        <a:gd name="T86" fmla="*/ 520 w 1225"/>
                        <a:gd name="T87" fmla="*/ 1764 h 2050"/>
                        <a:gd name="T88" fmla="*/ 420 w 1225"/>
                        <a:gd name="T89" fmla="*/ 1858 h 2050"/>
                        <a:gd name="T90" fmla="*/ 405 w 1225"/>
                        <a:gd name="T91" fmla="*/ 1920 h 2050"/>
                        <a:gd name="T92" fmla="*/ 309 w 1225"/>
                        <a:gd name="T93" fmla="*/ 2040 h 2050"/>
                        <a:gd name="T94" fmla="*/ 232 w 1225"/>
                        <a:gd name="T95" fmla="*/ 2050 h 2050"/>
                        <a:gd name="T96" fmla="*/ 154 w 1225"/>
                        <a:gd name="T97" fmla="*/ 1921 h 2050"/>
                        <a:gd name="T98" fmla="*/ 132 w 1225"/>
                        <a:gd name="T99" fmla="*/ 1815 h 2050"/>
                        <a:gd name="T100" fmla="*/ 34 w 1225"/>
                        <a:gd name="T101" fmla="*/ 1789 h 2050"/>
                        <a:gd name="T102" fmla="*/ 24 w 1225"/>
                        <a:gd name="T103" fmla="*/ 1714 h 2050"/>
                        <a:gd name="T104" fmla="*/ 58 w 1225"/>
                        <a:gd name="T105" fmla="*/ 1567 h 2050"/>
                        <a:gd name="T106" fmla="*/ 135 w 1225"/>
                        <a:gd name="T107" fmla="*/ 1573 h 2050"/>
                        <a:gd name="T108" fmla="*/ 189 w 1225"/>
                        <a:gd name="T109" fmla="*/ 1494 h 2050"/>
                        <a:gd name="T110" fmla="*/ 90 w 1225"/>
                        <a:gd name="T111" fmla="*/ 1342 h 2050"/>
                        <a:gd name="T112" fmla="*/ 49 w 1225"/>
                        <a:gd name="T113" fmla="*/ 1278 h 2050"/>
                        <a:gd name="T114" fmla="*/ 106 w 1225"/>
                        <a:gd name="T115" fmla="*/ 1225 h 2050"/>
                        <a:gd name="T116" fmla="*/ 87 w 1225"/>
                        <a:gd name="T117" fmla="*/ 1032 h 205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</a:cxnLst>
                      <a:rect l="0" t="0" r="r" b="b"/>
                      <a:pathLst>
                        <a:path w="1225" h="2050">
                          <a:moveTo>
                            <a:pt x="87" y="1032"/>
                          </a:moveTo>
                          <a:lnTo>
                            <a:pt x="57" y="1011"/>
                          </a:lnTo>
                          <a:lnTo>
                            <a:pt x="55" y="954"/>
                          </a:lnTo>
                          <a:lnTo>
                            <a:pt x="123" y="906"/>
                          </a:lnTo>
                          <a:lnTo>
                            <a:pt x="144" y="868"/>
                          </a:lnTo>
                          <a:lnTo>
                            <a:pt x="135" y="790"/>
                          </a:lnTo>
                          <a:lnTo>
                            <a:pt x="187" y="736"/>
                          </a:lnTo>
                          <a:lnTo>
                            <a:pt x="186" y="660"/>
                          </a:lnTo>
                          <a:lnTo>
                            <a:pt x="228" y="661"/>
                          </a:lnTo>
                          <a:lnTo>
                            <a:pt x="258" y="598"/>
                          </a:lnTo>
                          <a:lnTo>
                            <a:pt x="255" y="540"/>
                          </a:lnTo>
                          <a:lnTo>
                            <a:pt x="315" y="523"/>
                          </a:lnTo>
                          <a:lnTo>
                            <a:pt x="349" y="541"/>
                          </a:lnTo>
                          <a:lnTo>
                            <a:pt x="439" y="475"/>
                          </a:lnTo>
                          <a:lnTo>
                            <a:pt x="453" y="405"/>
                          </a:lnTo>
                          <a:lnTo>
                            <a:pt x="502" y="399"/>
                          </a:lnTo>
                          <a:lnTo>
                            <a:pt x="508" y="349"/>
                          </a:lnTo>
                          <a:lnTo>
                            <a:pt x="546" y="339"/>
                          </a:lnTo>
                          <a:lnTo>
                            <a:pt x="573" y="279"/>
                          </a:lnTo>
                          <a:lnTo>
                            <a:pt x="558" y="234"/>
                          </a:lnTo>
                          <a:lnTo>
                            <a:pt x="507" y="229"/>
                          </a:lnTo>
                          <a:lnTo>
                            <a:pt x="505" y="193"/>
                          </a:lnTo>
                          <a:lnTo>
                            <a:pt x="465" y="199"/>
                          </a:lnTo>
                          <a:lnTo>
                            <a:pt x="444" y="178"/>
                          </a:lnTo>
                          <a:lnTo>
                            <a:pt x="406" y="208"/>
                          </a:lnTo>
                          <a:lnTo>
                            <a:pt x="388" y="160"/>
                          </a:lnTo>
                          <a:lnTo>
                            <a:pt x="409" y="162"/>
                          </a:lnTo>
                          <a:lnTo>
                            <a:pt x="424" y="118"/>
                          </a:lnTo>
                          <a:lnTo>
                            <a:pt x="397" y="75"/>
                          </a:lnTo>
                          <a:lnTo>
                            <a:pt x="421" y="60"/>
                          </a:lnTo>
                          <a:lnTo>
                            <a:pt x="474" y="109"/>
                          </a:lnTo>
                          <a:lnTo>
                            <a:pt x="475" y="75"/>
                          </a:lnTo>
                          <a:lnTo>
                            <a:pt x="517" y="73"/>
                          </a:lnTo>
                          <a:lnTo>
                            <a:pt x="565" y="94"/>
                          </a:lnTo>
                          <a:lnTo>
                            <a:pt x="631" y="93"/>
                          </a:lnTo>
                          <a:lnTo>
                            <a:pt x="670" y="106"/>
                          </a:lnTo>
                          <a:lnTo>
                            <a:pt x="720" y="73"/>
                          </a:lnTo>
                          <a:lnTo>
                            <a:pt x="748" y="42"/>
                          </a:lnTo>
                          <a:lnTo>
                            <a:pt x="778" y="49"/>
                          </a:lnTo>
                          <a:lnTo>
                            <a:pt x="783" y="79"/>
                          </a:lnTo>
                          <a:lnTo>
                            <a:pt x="877" y="52"/>
                          </a:lnTo>
                          <a:lnTo>
                            <a:pt x="879" y="24"/>
                          </a:lnTo>
                          <a:lnTo>
                            <a:pt x="919" y="0"/>
                          </a:lnTo>
                          <a:lnTo>
                            <a:pt x="1051" y="102"/>
                          </a:lnTo>
                          <a:lnTo>
                            <a:pt x="1050" y="132"/>
                          </a:lnTo>
                          <a:lnTo>
                            <a:pt x="1077" y="162"/>
                          </a:lnTo>
                          <a:lnTo>
                            <a:pt x="1111" y="127"/>
                          </a:lnTo>
                          <a:lnTo>
                            <a:pt x="1134" y="162"/>
                          </a:lnTo>
                          <a:lnTo>
                            <a:pt x="1101" y="192"/>
                          </a:lnTo>
                          <a:lnTo>
                            <a:pt x="1138" y="238"/>
                          </a:lnTo>
                          <a:lnTo>
                            <a:pt x="1134" y="279"/>
                          </a:lnTo>
                          <a:lnTo>
                            <a:pt x="1164" y="345"/>
                          </a:lnTo>
                          <a:lnTo>
                            <a:pt x="1219" y="348"/>
                          </a:lnTo>
                          <a:lnTo>
                            <a:pt x="1225" y="391"/>
                          </a:lnTo>
                          <a:lnTo>
                            <a:pt x="1183" y="457"/>
                          </a:lnTo>
                          <a:lnTo>
                            <a:pt x="1125" y="486"/>
                          </a:lnTo>
                          <a:lnTo>
                            <a:pt x="1158" y="529"/>
                          </a:lnTo>
                          <a:lnTo>
                            <a:pt x="1117" y="556"/>
                          </a:lnTo>
                          <a:lnTo>
                            <a:pt x="1032" y="588"/>
                          </a:lnTo>
                          <a:lnTo>
                            <a:pt x="988" y="645"/>
                          </a:lnTo>
                          <a:lnTo>
                            <a:pt x="1024" y="711"/>
                          </a:lnTo>
                          <a:lnTo>
                            <a:pt x="987" y="720"/>
                          </a:lnTo>
                          <a:lnTo>
                            <a:pt x="942" y="816"/>
                          </a:lnTo>
                          <a:lnTo>
                            <a:pt x="942" y="853"/>
                          </a:lnTo>
                          <a:lnTo>
                            <a:pt x="889" y="940"/>
                          </a:lnTo>
                          <a:lnTo>
                            <a:pt x="858" y="948"/>
                          </a:lnTo>
                          <a:lnTo>
                            <a:pt x="766" y="937"/>
                          </a:lnTo>
                          <a:lnTo>
                            <a:pt x="714" y="978"/>
                          </a:lnTo>
                          <a:lnTo>
                            <a:pt x="681" y="1056"/>
                          </a:lnTo>
                          <a:lnTo>
                            <a:pt x="634" y="1063"/>
                          </a:lnTo>
                          <a:lnTo>
                            <a:pt x="639" y="1140"/>
                          </a:lnTo>
                          <a:lnTo>
                            <a:pt x="657" y="1225"/>
                          </a:lnTo>
                          <a:lnTo>
                            <a:pt x="649" y="1290"/>
                          </a:lnTo>
                          <a:lnTo>
                            <a:pt x="720" y="1323"/>
                          </a:lnTo>
                          <a:lnTo>
                            <a:pt x="756" y="1330"/>
                          </a:lnTo>
                          <a:lnTo>
                            <a:pt x="747" y="1393"/>
                          </a:lnTo>
                          <a:lnTo>
                            <a:pt x="714" y="1362"/>
                          </a:lnTo>
                          <a:lnTo>
                            <a:pt x="642" y="1368"/>
                          </a:lnTo>
                          <a:lnTo>
                            <a:pt x="600" y="1326"/>
                          </a:lnTo>
                          <a:lnTo>
                            <a:pt x="516" y="1297"/>
                          </a:lnTo>
                          <a:lnTo>
                            <a:pt x="490" y="1345"/>
                          </a:lnTo>
                          <a:lnTo>
                            <a:pt x="543" y="1398"/>
                          </a:lnTo>
                          <a:lnTo>
                            <a:pt x="547" y="1459"/>
                          </a:lnTo>
                          <a:lnTo>
                            <a:pt x="585" y="1501"/>
                          </a:lnTo>
                          <a:lnTo>
                            <a:pt x="582" y="1551"/>
                          </a:lnTo>
                          <a:lnTo>
                            <a:pt x="616" y="1657"/>
                          </a:lnTo>
                          <a:lnTo>
                            <a:pt x="564" y="1741"/>
                          </a:lnTo>
                          <a:lnTo>
                            <a:pt x="520" y="1764"/>
                          </a:lnTo>
                          <a:lnTo>
                            <a:pt x="471" y="1857"/>
                          </a:lnTo>
                          <a:lnTo>
                            <a:pt x="420" y="1858"/>
                          </a:lnTo>
                          <a:lnTo>
                            <a:pt x="379" y="1882"/>
                          </a:lnTo>
                          <a:lnTo>
                            <a:pt x="405" y="1920"/>
                          </a:lnTo>
                          <a:lnTo>
                            <a:pt x="354" y="2025"/>
                          </a:lnTo>
                          <a:lnTo>
                            <a:pt x="309" y="2040"/>
                          </a:lnTo>
                          <a:lnTo>
                            <a:pt x="279" y="2023"/>
                          </a:lnTo>
                          <a:lnTo>
                            <a:pt x="232" y="2050"/>
                          </a:lnTo>
                          <a:lnTo>
                            <a:pt x="226" y="1915"/>
                          </a:lnTo>
                          <a:lnTo>
                            <a:pt x="154" y="1921"/>
                          </a:lnTo>
                          <a:lnTo>
                            <a:pt x="166" y="1890"/>
                          </a:lnTo>
                          <a:lnTo>
                            <a:pt x="132" y="1815"/>
                          </a:lnTo>
                          <a:lnTo>
                            <a:pt x="70" y="1776"/>
                          </a:lnTo>
                          <a:lnTo>
                            <a:pt x="34" y="1789"/>
                          </a:lnTo>
                          <a:lnTo>
                            <a:pt x="0" y="1740"/>
                          </a:lnTo>
                          <a:lnTo>
                            <a:pt x="24" y="1714"/>
                          </a:lnTo>
                          <a:lnTo>
                            <a:pt x="0" y="1671"/>
                          </a:lnTo>
                          <a:lnTo>
                            <a:pt x="58" y="1567"/>
                          </a:lnTo>
                          <a:lnTo>
                            <a:pt x="109" y="1537"/>
                          </a:lnTo>
                          <a:lnTo>
                            <a:pt x="135" y="1573"/>
                          </a:lnTo>
                          <a:lnTo>
                            <a:pt x="187" y="1543"/>
                          </a:lnTo>
                          <a:lnTo>
                            <a:pt x="189" y="1494"/>
                          </a:lnTo>
                          <a:lnTo>
                            <a:pt x="57" y="1383"/>
                          </a:lnTo>
                          <a:lnTo>
                            <a:pt x="90" y="1342"/>
                          </a:lnTo>
                          <a:lnTo>
                            <a:pt x="93" y="1293"/>
                          </a:lnTo>
                          <a:lnTo>
                            <a:pt x="49" y="1278"/>
                          </a:lnTo>
                          <a:lnTo>
                            <a:pt x="51" y="1228"/>
                          </a:lnTo>
                          <a:lnTo>
                            <a:pt x="106" y="1225"/>
                          </a:lnTo>
                          <a:lnTo>
                            <a:pt x="91" y="1122"/>
                          </a:lnTo>
                          <a:lnTo>
                            <a:pt x="87" y="1032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71" name="Freeform 70"/>
                    <p:cNvSpPr>
                      <a:spLocks/>
                    </p:cNvSpPr>
                    <p:nvPr/>
                  </p:nvSpPr>
                  <p:spPr bwMode="auto">
                    <a:xfrm>
                      <a:off x="2506" y="2419"/>
                      <a:ext cx="859" cy="818"/>
                    </a:xfrm>
                    <a:custGeom>
                      <a:avLst/>
                      <a:gdLst>
                        <a:gd name="T0" fmla="*/ 1105 w 2501"/>
                        <a:gd name="T1" fmla="*/ 2117 h 2391"/>
                        <a:gd name="T2" fmla="*/ 1101 w 2501"/>
                        <a:gd name="T3" fmla="*/ 1983 h 2391"/>
                        <a:gd name="T4" fmla="*/ 1077 w 2501"/>
                        <a:gd name="T5" fmla="*/ 1749 h 2391"/>
                        <a:gd name="T6" fmla="*/ 1095 w 2501"/>
                        <a:gd name="T7" fmla="*/ 1463 h 2391"/>
                        <a:gd name="T8" fmla="*/ 1291 w 2501"/>
                        <a:gd name="T9" fmla="*/ 1339 h 2391"/>
                        <a:gd name="T10" fmla="*/ 1353 w 2501"/>
                        <a:gd name="T11" fmla="*/ 1325 h 2391"/>
                        <a:gd name="T12" fmla="*/ 1519 w 2501"/>
                        <a:gd name="T13" fmla="*/ 1157 h 2391"/>
                        <a:gd name="T14" fmla="*/ 1779 w 2501"/>
                        <a:gd name="T15" fmla="*/ 955 h 2391"/>
                        <a:gd name="T16" fmla="*/ 1747 w 2501"/>
                        <a:gd name="T17" fmla="*/ 937 h 2391"/>
                        <a:gd name="T18" fmla="*/ 2133 w 2501"/>
                        <a:gd name="T19" fmla="*/ 617 h 2391"/>
                        <a:gd name="T20" fmla="*/ 2487 w 2501"/>
                        <a:gd name="T21" fmla="*/ 238 h 2391"/>
                        <a:gd name="T22" fmla="*/ 2403 w 2501"/>
                        <a:gd name="T23" fmla="*/ 276 h 2391"/>
                        <a:gd name="T24" fmla="*/ 2151 w 2501"/>
                        <a:gd name="T25" fmla="*/ 256 h 2391"/>
                        <a:gd name="T26" fmla="*/ 2036 w 2501"/>
                        <a:gd name="T27" fmla="*/ 370 h 2391"/>
                        <a:gd name="T28" fmla="*/ 1973 w 2501"/>
                        <a:gd name="T29" fmla="*/ 447 h 2391"/>
                        <a:gd name="T30" fmla="*/ 1850 w 2501"/>
                        <a:gd name="T31" fmla="*/ 534 h 2391"/>
                        <a:gd name="T32" fmla="*/ 1766 w 2501"/>
                        <a:gd name="T33" fmla="*/ 528 h 2391"/>
                        <a:gd name="T34" fmla="*/ 1675 w 2501"/>
                        <a:gd name="T35" fmla="*/ 607 h 2391"/>
                        <a:gd name="T36" fmla="*/ 1411 w 2501"/>
                        <a:gd name="T37" fmla="*/ 689 h 2391"/>
                        <a:gd name="T38" fmla="*/ 1332 w 2501"/>
                        <a:gd name="T39" fmla="*/ 567 h 2391"/>
                        <a:gd name="T40" fmla="*/ 1239 w 2501"/>
                        <a:gd name="T41" fmla="*/ 465 h 2391"/>
                        <a:gd name="T42" fmla="*/ 1106 w 2501"/>
                        <a:gd name="T43" fmla="*/ 390 h 2391"/>
                        <a:gd name="T44" fmla="*/ 1016 w 2501"/>
                        <a:gd name="T45" fmla="*/ 345 h 2391"/>
                        <a:gd name="T46" fmla="*/ 1022 w 2501"/>
                        <a:gd name="T47" fmla="*/ 244 h 2391"/>
                        <a:gd name="T48" fmla="*/ 882 w 2501"/>
                        <a:gd name="T49" fmla="*/ 144 h 2391"/>
                        <a:gd name="T50" fmla="*/ 792 w 2501"/>
                        <a:gd name="T51" fmla="*/ 154 h 2391"/>
                        <a:gd name="T52" fmla="*/ 566 w 2501"/>
                        <a:gd name="T53" fmla="*/ 45 h 2391"/>
                        <a:gd name="T54" fmla="*/ 531 w 2501"/>
                        <a:gd name="T55" fmla="*/ 63 h 2391"/>
                        <a:gd name="T56" fmla="*/ 444 w 2501"/>
                        <a:gd name="T57" fmla="*/ 178 h 2391"/>
                        <a:gd name="T58" fmla="*/ 422 w 2501"/>
                        <a:gd name="T59" fmla="*/ 199 h 2391"/>
                        <a:gd name="T60" fmla="*/ 338 w 2501"/>
                        <a:gd name="T61" fmla="*/ 298 h 2391"/>
                        <a:gd name="T62" fmla="*/ 278 w 2501"/>
                        <a:gd name="T63" fmla="*/ 450 h 2391"/>
                        <a:gd name="T64" fmla="*/ 287 w 2501"/>
                        <a:gd name="T65" fmla="*/ 588 h 2391"/>
                        <a:gd name="T66" fmla="*/ 246 w 2501"/>
                        <a:gd name="T67" fmla="*/ 682 h 2391"/>
                        <a:gd name="T68" fmla="*/ 249 w 2501"/>
                        <a:gd name="T69" fmla="*/ 771 h 2391"/>
                        <a:gd name="T70" fmla="*/ 233 w 2501"/>
                        <a:gd name="T71" fmla="*/ 864 h 2391"/>
                        <a:gd name="T72" fmla="*/ 227 w 2501"/>
                        <a:gd name="T73" fmla="*/ 972 h 2391"/>
                        <a:gd name="T74" fmla="*/ 246 w 2501"/>
                        <a:gd name="T75" fmla="*/ 1083 h 2391"/>
                        <a:gd name="T76" fmla="*/ 225 w 2501"/>
                        <a:gd name="T77" fmla="*/ 1171 h 2391"/>
                        <a:gd name="T78" fmla="*/ 228 w 2501"/>
                        <a:gd name="T79" fmla="*/ 1204 h 2391"/>
                        <a:gd name="T80" fmla="*/ 132 w 2501"/>
                        <a:gd name="T81" fmla="*/ 1272 h 2391"/>
                        <a:gd name="T82" fmla="*/ 81 w 2501"/>
                        <a:gd name="T83" fmla="*/ 1419 h 2391"/>
                        <a:gd name="T84" fmla="*/ 132 w 2501"/>
                        <a:gd name="T85" fmla="*/ 1585 h 2391"/>
                        <a:gd name="T86" fmla="*/ 15 w 2501"/>
                        <a:gd name="T87" fmla="*/ 1621 h 2391"/>
                        <a:gd name="T88" fmla="*/ 30 w 2501"/>
                        <a:gd name="T89" fmla="*/ 1764 h 2391"/>
                        <a:gd name="T90" fmla="*/ 68 w 2501"/>
                        <a:gd name="T91" fmla="*/ 1851 h 2391"/>
                        <a:gd name="T92" fmla="*/ 191 w 2501"/>
                        <a:gd name="T93" fmla="*/ 1855 h 2391"/>
                        <a:gd name="T94" fmla="*/ 224 w 2501"/>
                        <a:gd name="T95" fmla="*/ 1867 h 2391"/>
                        <a:gd name="T96" fmla="*/ 198 w 2501"/>
                        <a:gd name="T97" fmla="*/ 1903 h 2391"/>
                        <a:gd name="T98" fmla="*/ 72 w 2501"/>
                        <a:gd name="T99" fmla="*/ 1861 h 2391"/>
                        <a:gd name="T100" fmla="*/ 78 w 2501"/>
                        <a:gd name="T101" fmla="*/ 1944 h 2391"/>
                        <a:gd name="T102" fmla="*/ 113 w 2501"/>
                        <a:gd name="T103" fmla="*/ 1965 h 2391"/>
                        <a:gd name="T104" fmla="*/ 206 w 2501"/>
                        <a:gd name="T105" fmla="*/ 1992 h 2391"/>
                        <a:gd name="T106" fmla="*/ 329 w 2501"/>
                        <a:gd name="T107" fmla="*/ 1950 h 2391"/>
                        <a:gd name="T108" fmla="*/ 383 w 2501"/>
                        <a:gd name="T109" fmla="*/ 1989 h 2391"/>
                        <a:gd name="T110" fmla="*/ 402 w 2501"/>
                        <a:gd name="T111" fmla="*/ 2046 h 2391"/>
                        <a:gd name="T112" fmla="*/ 509 w 2501"/>
                        <a:gd name="T113" fmla="*/ 2164 h 2391"/>
                        <a:gd name="T114" fmla="*/ 528 w 2501"/>
                        <a:gd name="T115" fmla="*/ 2262 h 2391"/>
                        <a:gd name="T116" fmla="*/ 465 w 2501"/>
                        <a:gd name="T117" fmla="*/ 2343 h 2391"/>
                        <a:gd name="T118" fmla="*/ 585 w 2501"/>
                        <a:gd name="T119" fmla="*/ 2271 h 2391"/>
                        <a:gd name="T120" fmla="*/ 770 w 2501"/>
                        <a:gd name="T121" fmla="*/ 2257 h 2391"/>
                        <a:gd name="T122" fmla="*/ 845 w 2501"/>
                        <a:gd name="T123" fmla="*/ 2193 h 2391"/>
                        <a:gd name="T124" fmla="*/ 993 w 2501"/>
                        <a:gd name="T125" fmla="*/ 2163 h 23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  <a:cxn ang="0">
                          <a:pos x="T124" y="T125"/>
                        </a:cxn>
                      </a:cxnLst>
                      <a:rect l="0" t="0" r="r" b="b"/>
                      <a:pathLst>
                        <a:path w="2501" h="2391">
                          <a:moveTo>
                            <a:pt x="1117" y="2129"/>
                          </a:moveTo>
                          <a:lnTo>
                            <a:pt x="1107" y="2041"/>
                          </a:lnTo>
                          <a:lnTo>
                            <a:pt x="1105" y="2117"/>
                          </a:lnTo>
                          <a:lnTo>
                            <a:pt x="1047" y="2083"/>
                          </a:lnTo>
                          <a:lnTo>
                            <a:pt x="1105" y="2039"/>
                          </a:lnTo>
                          <a:lnTo>
                            <a:pt x="1101" y="1983"/>
                          </a:lnTo>
                          <a:lnTo>
                            <a:pt x="1053" y="1877"/>
                          </a:lnTo>
                          <a:lnTo>
                            <a:pt x="1079" y="1831"/>
                          </a:lnTo>
                          <a:lnTo>
                            <a:pt x="1077" y="1749"/>
                          </a:lnTo>
                          <a:lnTo>
                            <a:pt x="1053" y="1687"/>
                          </a:lnTo>
                          <a:lnTo>
                            <a:pt x="1055" y="1519"/>
                          </a:lnTo>
                          <a:lnTo>
                            <a:pt x="1095" y="1463"/>
                          </a:lnTo>
                          <a:lnTo>
                            <a:pt x="1139" y="1375"/>
                          </a:lnTo>
                          <a:lnTo>
                            <a:pt x="1229" y="1319"/>
                          </a:lnTo>
                          <a:lnTo>
                            <a:pt x="1291" y="1339"/>
                          </a:lnTo>
                          <a:lnTo>
                            <a:pt x="1297" y="1383"/>
                          </a:lnTo>
                          <a:lnTo>
                            <a:pt x="1355" y="1359"/>
                          </a:lnTo>
                          <a:lnTo>
                            <a:pt x="1353" y="1325"/>
                          </a:lnTo>
                          <a:lnTo>
                            <a:pt x="1399" y="1285"/>
                          </a:lnTo>
                          <a:lnTo>
                            <a:pt x="1437" y="1167"/>
                          </a:lnTo>
                          <a:lnTo>
                            <a:pt x="1519" y="1157"/>
                          </a:lnTo>
                          <a:lnTo>
                            <a:pt x="1585" y="1173"/>
                          </a:lnTo>
                          <a:lnTo>
                            <a:pt x="1759" y="1085"/>
                          </a:lnTo>
                          <a:lnTo>
                            <a:pt x="1779" y="955"/>
                          </a:lnTo>
                          <a:lnTo>
                            <a:pt x="1761" y="1003"/>
                          </a:lnTo>
                          <a:lnTo>
                            <a:pt x="1731" y="977"/>
                          </a:lnTo>
                          <a:lnTo>
                            <a:pt x="1747" y="937"/>
                          </a:lnTo>
                          <a:lnTo>
                            <a:pt x="1817" y="865"/>
                          </a:lnTo>
                          <a:lnTo>
                            <a:pt x="2041" y="741"/>
                          </a:lnTo>
                          <a:lnTo>
                            <a:pt x="2133" y="617"/>
                          </a:lnTo>
                          <a:lnTo>
                            <a:pt x="2291" y="522"/>
                          </a:lnTo>
                          <a:lnTo>
                            <a:pt x="2501" y="268"/>
                          </a:lnTo>
                          <a:lnTo>
                            <a:pt x="2487" y="238"/>
                          </a:lnTo>
                          <a:lnTo>
                            <a:pt x="2462" y="238"/>
                          </a:lnTo>
                          <a:lnTo>
                            <a:pt x="2436" y="268"/>
                          </a:lnTo>
                          <a:lnTo>
                            <a:pt x="2403" y="276"/>
                          </a:lnTo>
                          <a:lnTo>
                            <a:pt x="2337" y="364"/>
                          </a:lnTo>
                          <a:lnTo>
                            <a:pt x="2201" y="331"/>
                          </a:lnTo>
                          <a:lnTo>
                            <a:pt x="2151" y="256"/>
                          </a:lnTo>
                          <a:lnTo>
                            <a:pt x="2054" y="292"/>
                          </a:lnTo>
                          <a:lnTo>
                            <a:pt x="2075" y="333"/>
                          </a:lnTo>
                          <a:lnTo>
                            <a:pt x="2036" y="370"/>
                          </a:lnTo>
                          <a:lnTo>
                            <a:pt x="1992" y="364"/>
                          </a:lnTo>
                          <a:lnTo>
                            <a:pt x="1958" y="414"/>
                          </a:lnTo>
                          <a:lnTo>
                            <a:pt x="1973" y="447"/>
                          </a:lnTo>
                          <a:lnTo>
                            <a:pt x="1968" y="499"/>
                          </a:lnTo>
                          <a:lnTo>
                            <a:pt x="1899" y="492"/>
                          </a:lnTo>
                          <a:lnTo>
                            <a:pt x="1850" y="534"/>
                          </a:lnTo>
                          <a:lnTo>
                            <a:pt x="1793" y="438"/>
                          </a:lnTo>
                          <a:lnTo>
                            <a:pt x="1742" y="493"/>
                          </a:lnTo>
                          <a:lnTo>
                            <a:pt x="1766" y="528"/>
                          </a:lnTo>
                          <a:lnTo>
                            <a:pt x="1739" y="605"/>
                          </a:lnTo>
                          <a:lnTo>
                            <a:pt x="1719" y="615"/>
                          </a:lnTo>
                          <a:lnTo>
                            <a:pt x="1675" y="607"/>
                          </a:lnTo>
                          <a:lnTo>
                            <a:pt x="1541" y="665"/>
                          </a:lnTo>
                          <a:lnTo>
                            <a:pt x="1463" y="671"/>
                          </a:lnTo>
                          <a:lnTo>
                            <a:pt x="1411" y="689"/>
                          </a:lnTo>
                          <a:lnTo>
                            <a:pt x="1385" y="671"/>
                          </a:lnTo>
                          <a:lnTo>
                            <a:pt x="1339" y="701"/>
                          </a:lnTo>
                          <a:lnTo>
                            <a:pt x="1332" y="567"/>
                          </a:lnTo>
                          <a:lnTo>
                            <a:pt x="1259" y="570"/>
                          </a:lnTo>
                          <a:lnTo>
                            <a:pt x="1271" y="537"/>
                          </a:lnTo>
                          <a:lnTo>
                            <a:pt x="1239" y="465"/>
                          </a:lnTo>
                          <a:lnTo>
                            <a:pt x="1176" y="427"/>
                          </a:lnTo>
                          <a:lnTo>
                            <a:pt x="1140" y="438"/>
                          </a:lnTo>
                          <a:lnTo>
                            <a:pt x="1106" y="390"/>
                          </a:lnTo>
                          <a:lnTo>
                            <a:pt x="1079" y="411"/>
                          </a:lnTo>
                          <a:lnTo>
                            <a:pt x="996" y="369"/>
                          </a:lnTo>
                          <a:lnTo>
                            <a:pt x="1016" y="345"/>
                          </a:lnTo>
                          <a:lnTo>
                            <a:pt x="1023" y="309"/>
                          </a:lnTo>
                          <a:lnTo>
                            <a:pt x="990" y="286"/>
                          </a:lnTo>
                          <a:lnTo>
                            <a:pt x="1022" y="244"/>
                          </a:lnTo>
                          <a:lnTo>
                            <a:pt x="1022" y="153"/>
                          </a:lnTo>
                          <a:lnTo>
                            <a:pt x="948" y="111"/>
                          </a:lnTo>
                          <a:lnTo>
                            <a:pt x="882" y="144"/>
                          </a:lnTo>
                          <a:lnTo>
                            <a:pt x="831" y="120"/>
                          </a:lnTo>
                          <a:lnTo>
                            <a:pt x="797" y="120"/>
                          </a:lnTo>
                          <a:lnTo>
                            <a:pt x="792" y="154"/>
                          </a:lnTo>
                          <a:lnTo>
                            <a:pt x="707" y="132"/>
                          </a:lnTo>
                          <a:lnTo>
                            <a:pt x="648" y="52"/>
                          </a:lnTo>
                          <a:lnTo>
                            <a:pt x="566" y="45"/>
                          </a:lnTo>
                          <a:lnTo>
                            <a:pt x="516" y="0"/>
                          </a:lnTo>
                          <a:lnTo>
                            <a:pt x="495" y="24"/>
                          </a:lnTo>
                          <a:lnTo>
                            <a:pt x="531" y="63"/>
                          </a:lnTo>
                          <a:lnTo>
                            <a:pt x="497" y="94"/>
                          </a:lnTo>
                          <a:lnTo>
                            <a:pt x="515" y="147"/>
                          </a:lnTo>
                          <a:lnTo>
                            <a:pt x="444" y="178"/>
                          </a:lnTo>
                          <a:lnTo>
                            <a:pt x="471" y="204"/>
                          </a:lnTo>
                          <a:lnTo>
                            <a:pt x="471" y="238"/>
                          </a:lnTo>
                          <a:lnTo>
                            <a:pt x="422" y="199"/>
                          </a:lnTo>
                          <a:lnTo>
                            <a:pt x="366" y="195"/>
                          </a:lnTo>
                          <a:lnTo>
                            <a:pt x="380" y="225"/>
                          </a:lnTo>
                          <a:lnTo>
                            <a:pt x="338" y="298"/>
                          </a:lnTo>
                          <a:lnTo>
                            <a:pt x="366" y="361"/>
                          </a:lnTo>
                          <a:lnTo>
                            <a:pt x="330" y="447"/>
                          </a:lnTo>
                          <a:lnTo>
                            <a:pt x="278" y="450"/>
                          </a:lnTo>
                          <a:lnTo>
                            <a:pt x="263" y="505"/>
                          </a:lnTo>
                          <a:lnTo>
                            <a:pt x="278" y="525"/>
                          </a:lnTo>
                          <a:lnTo>
                            <a:pt x="287" y="588"/>
                          </a:lnTo>
                          <a:lnTo>
                            <a:pt x="258" y="625"/>
                          </a:lnTo>
                          <a:lnTo>
                            <a:pt x="305" y="640"/>
                          </a:lnTo>
                          <a:lnTo>
                            <a:pt x="246" y="682"/>
                          </a:lnTo>
                          <a:lnTo>
                            <a:pt x="263" y="705"/>
                          </a:lnTo>
                          <a:lnTo>
                            <a:pt x="218" y="745"/>
                          </a:lnTo>
                          <a:lnTo>
                            <a:pt x="249" y="771"/>
                          </a:lnTo>
                          <a:lnTo>
                            <a:pt x="319" y="783"/>
                          </a:lnTo>
                          <a:lnTo>
                            <a:pt x="236" y="828"/>
                          </a:lnTo>
                          <a:lnTo>
                            <a:pt x="233" y="864"/>
                          </a:lnTo>
                          <a:lnTo>
                            <a:pt x="197" y="886"/>
                          </a:lnTo>
                          <a:lnTo>
                            <a:pt x="243" y="931"/>
                          </a:lnTo>
                          <a:lnTo>
                            <a:pt x="227" y="972"/>
                          </a:lnTo>
                          <a:lnTo>
                            <a:pt x="231" y="1038"/>
                          </a:lnTo>
                          <a:lnTo>
                            <a:pt x="210" y="1059"/>
                          </a:lnTo>
                          <a:lnTo>
                            <a:pt x="246" y="1083"/>
                          </a:lnTo>
                          <a:lnTo>
                            <a:pt x="222" y="1128"/>
                          </a:lnTo>
                          <a:lnTo>
                            <a:pt x="195" y="1159"/>
                          </a:lnTo>
                          <a:lnTo>
                            <a:pt x="225" y="1171"/>
                          </a:lnTo>
                          <a:lnTo>
                            <a:pt x="252" y="1155"/>
                          </a:lnTo>
                          <a:lnTo>
                            <a:pt x="279" y="1182"/>
                          </a:lnTo>
                          <a:lnTo>
                            <a:pt x="228" y="1204"/>
                          </a:lnTo>
                          <a:lnTo>
                            <a:pt x="243" y="1231"/>
                          </a:lnTo>
                          <a:lnTo>
                            <a:pt x="234" y="1291"/>
                          </a:lnTo>
                          <a:lnTo>
                            <a:pt x="132" y="1272"/>
                          </a:lnTo>
                          <a:lnTo>
                            <a:pt x="93" y="1335"/>
                          </a:lnTo>
                          <a:lnTo>
                            <a:pt x="110" y="1381"/>
                          </a:lnTo>
                          <a:lnTo>
                            <a:pt x="81" y="1419"/>
                          </a:lnTo>
                          <a:lnTo>
                            <a:pt x="84" y="1479"/>
                          </a:lnTo>
                          <a:lnTo>
                            <a:pt x="126" y="1521"/>
                          </a:lnTo>
                          <a:lnTo>
                            <a:pt x="132" y="1585"/>
                          </a:lnTo>
                          <a:lnTo>
                            <a:pt x="101" y="1608"/>
                          </a:lnTo>
                          <a:lnTo>
                            <a:pt x="72" y="1573"/>
                          </a:lnTo>
                          <a:lnTo>
                            <a:pt x="15" y="1621"/>
                          </a:lnTo>
                          <a:lnTo>
                            <a:pt x="3" y="1687"/>
                          </a:lnTo>
                          <a:lnTo>
                            <a:pt x="0" y="1749"/>
                          </a:lnTo>
                          <a:lnTo>
                            <a:pt x="30" y="1764"/>
                          </a:lnTo>
                          <a:lnTo>
                            <a:pt x="63" y="1776"/>
                          </a:lnTo>
                          <a:lnTo>
                            <a:pt x="30" y="1807"/>
                          </a:lnTo>
                          <a:lnTo>
                            <a:pt x="68" y="1851"/>
                          </a:lnTo>
                          <a:lnTo>
                            <a:pt x="105" y="1860"/>
                          </a:lnTo>
                          <a:lnTo>
                            <a:pt x="122" y="1815"/>
                          </a:lnTo>
                          <a:lnTo>
                            <a:pt x="191" y="1855"/>
                          </a:lnTo>
                          <a:lnTo>
                            <a:pt x="204" y="1821"/>
                          </a:lnTo>
                          <a:lnTo>
                            <a:pt x="234" y="1852"/>
                          </a:lnTo>
                          <a:lnTo>
                            <a:pt x="224" y="1867"/>
                          </a:lnTo>
                          <a:lnTo>
                            <a:pt x="200" y="1872"/>
                          </a:lnTo>
                          <a:lnTo>
                            <a:pt x="179" y="1879"/>
                          </a:lnTo>
                          <a:lnTo>
                            <a:pt x="198" y="1903"/>
                          </a:lnTo>
                          <a:lnTo>
                            <a:pt x="132" y="1924"/>
                          </a:lnTo>
                          <a:lnTo>
                            <a:pt x="84" y="1900"/>
                          </a:lnTo>
                          <a:lnTo>
                            <a:pt x="72" y="1861"/>
                          </a:lnTo>
                          <a:lnTo>
                            <a:pt x="44" y="1869"/>
                          </a:lnTo>
                          <a:lnTo>
                            <a:pt x="48" y="1908"/>
                          </a:lnTo>
                          <a:lnTo>
                            <a:pt x="78" y="1944"/>
                          </a:lnTo>
                          <a:lnTo>
                            <a:pt x="47" y="2007"/>
                          </a:lnTo>
                          <a:lnTo>
                            <a:pt x="123" y="2010"/>
                          </a:lnTo>
                          <a:lnTo>
                            <a:pt x="113" y="1965"/>
                          </a:lnTo>
                          <a:lnTo>
                            <a:pt x="165" y="1974"/>
                          </a:lnTo>
                          <a:lnTo>
                            <a:pt x="188" y="1944"/>
                          </a:lnTo>
                          <a:lnTo>
                            <a:pt x="206" y="1992"/>
                          </a:lnTo>
                          <a:lnTo>
                            <a:pt x="198" y="2032"/>
                          </a:lnTo>
                          <a:lnTo>
                            <a:pt x="335" y="1987"/>
                          </a:lnTo>
                          <a:lnTo>
                            <a:pt x="329" y="1950"/>
                          </a:lnTo>
                          <a:lnTo>
                            <a:pt x="363" y="1966"/>
                          </a:lnTo>
                          <a:lnTo>
                            <a:pt x="375" y="1942"/>
                          </a:lnTo>
                          <a:lnTo>
                            <a:pt x="383" y="1989"/>
                          </a:lnTo>
                          <a:lnTo>
                            <a:pt x="411" y="1972"/>
                          </a:lnTo>
                          <a:lnTo>
                            <a:pt x="441" y="1995"/>
                          </a:lnTo>
                          <a:lnTo>
                            <a:pt x="402" y="2046"/>
                          </a:lnTo>
                          <a:lnTo>
                            <a:pt x="462" y="2080"/>
                          </a:lnTo>
                          <a:lnTo>
                            <a:pt x="504" y="2068"/>
                          </a:lnTo>
                          <a:lnTo>
                            <a:pt x="509" y="2164"/>
                          </a:lnTo>
                          <a:lnTo>
                            <a:pt x="575" y="2176"/>
                          </a:lnTo>
                          <a:lnTo>
                            <a:pt x="549" y="2232"/>
                          </a:lnTo>
                          <a:lnTo>
                            <a:pt x="528" y="2262"/>
                          </a:lnTo>
                          <a:lnTo>
                            <a:pt x="530" y="2299"/>
                          </a:lnTo>
                          <a:lnTo>
                            <a:pt x="483" y="2293"/>
                          </a:lnTo>
                          <a:lnTo>
                            <a:pt x="465" y="2343"/>
                          </a:lnTo>
                          <a:lnTo>
                            <a:pt x="507" y="2391"/>
                          </a:lnTo>
                          <a:lnTo>
                            <a:pt x="573" y="2328"/>
                          </a:lnTo>
                          <a:lnTo>
                            <a:pt x="585" y="2271"/>
                          </a:lnTo>
                          <a:lnTo>
                            <a:pt x="620" y="2223"/>
                          </a:lnTo>
                          <a:lnTo>
                            <a:pt x="681" y="2242"/>
                          </a:lnTo>
                          <a:lnTo>
                            <a:pt x="770" y="2257"/>
                          </a:lnTo>
                          <a:lnTo>
                            <a:pt x="774" y="2214"/>
                          </a:lnTo>
                          <a:lnTo>
                            <a:pt x="824" y="2220"/>
                          </a:lnTo>
                          <a:lnTo>
                            <a:pt x="845" y="2193"/>
                          </a:lnTo>
                          <a:lnTo>
                            <a:pt x="854" y="2161"/>
                          </a:lnTo>
                          <a:lnTo>
                            <a:pt x="953" y="2178"/>
                          </a:lnTo>
                          <a:lnTo>
                            <a:pt x="993" y="2163"/>
                          </a:lnTo>
                          <a:lnTo>
                            <a:pt x="1041" y="2099"/>
                          </a:lnTo>
                          <a:lnTo>
                            <a:pt x="1117" y="2129"/>
                          </a:lnTo>
                          <a:close/>
                        </a:path>
                      </a:pathLst>
                    </a:custGeom>
                    <a:ln>
                      <a:headEnd type="none" w="med" len="med"/>
                      <a:tailEnd type="none" w="med" len="med"/>
                    </a:ln>
                    <a:extLst/>
                  </p:spPr>
                  <p:style>
                    <a:lnRef idx="2">
                      <a:schemeClr val="accent6">
                        <a:shade val="50000"/>
                      </a:schemeClr>
                    </a:lnRef>
                    <a:fillRef idx="1">
                      <a:schemeClr val="accent6"/>
                    </a:fillRef>
                    <a:effectRef idx="0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  <p:sp>
                  <p:nvSpPr>
                    <p:cNvPr id="72" name="Freeform 71"/>
                    <p:cNvSpPr>
                      <a:spLocks/>
                    </p:cNvSpPr>
                    <p:nvPr/>
                  </p:nvSpPr>
                  <p:spPr bwMode="auto">
                    <a:xfrm>
                      <a:off x="2147" y="2348"/>
                      <a:ext cx="30" cy="28"/>
                    </a:xfrm>
                    <a:custGeom>
                      <a:avLst/>
                      <a:gdLst>
                        <a:gd name="T0" fmla="*/ 7 w 30"/>
                        <a:gd name="T1" fmla="*/ 28 h 28"/>
                        <a:gd name="T2" fmla="*/ 0 w 30"/>
                        <a:gd name="T3" fmla="*/ 6 h 28"/>
                        <a:gd name="T4" fmla="*/ 22 w 30"/>
                        <a:gd name="T5" fmla="*/ 0 h 28"/>
                        <a:gd name="T6" fmla="*/ 30 w 30"/>
                        <a:gd name="T7" fmla="*/ 19 h 28"/>
                        <a:gd name="T8" fmla="*/ 7 w 30"/>
                        <a:gd name="T9" fmla="*/ 28 h 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0" h="28">
                          <a:moveTo>
                            <a:pt x="7" y="28"/>
                          </a:moveTo>
                          <a:lnTo>
                            <a:pt x="0" y="6"/>
                          </a:lnTo>
                          <a:lnTo>
                            <a:pt x="22" y="0"/>
                          </a:lnTo>
                          <a:lnTo>
                            <a:pt x="30" y="19"/>
                          </a:lnTo>
                          <a:lnTo>
                            <a:pt x="7" y="28"/>
                          </a:lnTo>
                          <a:close/>
                        </a:path>
                      </a:pathLst>
                    </a:custGeom>
                    <a:grpFill/>
                    <a:ln w="952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none" lIns="144000" tIns="74880" rIns="144000" bIns="74880" anchor="ctr"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2160" dirty="0"/>
                    </a:p>
                  </p:txBody>
                </p:sp>
              </p:grpSp>
              <p:sp>
                <p:nvSpPr>
                  <p:cNvPr id="12" name="Text Box 99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6200843" y="5636753"/>
                    <a:ext cx="572631" cy="199469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bg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square" lIns="0" tIns="0" rIns="0" bIns="0">
                    <a:spAutoFit/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r>
                      <a:rPr lang="fr-FR" sz="960" dirty="0">
                        <a:latin typeface="Century Gothic" panose="020B0502020202020204" pitchFamily="34" charset="0"/>
                      </a:rPr>
                      <a:t>Andaman &amp; Nicobar</a:t>
                    </a:r>
                  </a:p>
                </p:txBody>
              </p:sp>
              <p:sp>
                <p:nvSpPr>
                  <p:cNvPr id="13" name="Text Box 100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4116947" y="5521139"/>
                    <a:ext cx="435254" cy="99735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bg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>
                    <a:spAutoFit/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r>
                      <a:rPr lang="fr-FR" sz="960" dirty="0">
                        <a:latin typeface="Century Gothic" panose="020B0502020202020204" pitchFamily="34" charset="0"/>
                      </a:rPr>
                      <a:t>Tamil </a:t>
                    </a:r>
                    <a:r>
                      <a:rPr lang="fr-FR" sz="960" dirty="0" err="1">
                        <a:latin typeface="Century Gothic" panose="020B0502020202020204" pitchFamily="34" charset="0"/>
                      </a:rPr>
                      <a:t>Nadu</a:t>
                    </a:r>
                    <a:endParaRPr lang="fr-FR" sz="960" dirty="0">
                      <a:latin typeface="Century Gothic" panose="020B0502020202020204" pitchFamily="34" charset="0"/>
                    </a:endParaRPr>
                  </a:p>
                </p:txBody>
              </p:sp>
              <p:sp>
                <p:nvSpPr>
                  <p:cNvPr id="14" name="Text Box 101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3824511" y="5721083"/>
                    <a:ext cx="333241" cy="99735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bg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>
                    <a:spAutoFit/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r>
                      <a:rPr lang="fr-FR" sz="960" dirty="0">
                        <a:latin typeface="Century Gothic" panose="020B0502020202020204" pitchFamily="34" charset="0"/>
                      </a:rPr>
                      <a:t>Kerala</a:t>
                    </a:r>
                  </a:p>
                </p:txBody>
              </p:sp>
              <p:sp>
                <p:nvSpPr>
                  <p:cNvPr id="15" name="Text Box 10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3808189" y="5197419"/>
                    <a:ext cx="481499" cy="99735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bg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square" lIns="0" tIns="0" rIns="0" bIns="0">
                    <a:spAutoFit/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r>
                      <a:rPr lang="fr-FR" sz="960" dirty="0">
                        <a:latin typeface="Century Gothic" panose="020B0502020202020204" pitchFamily="34" charset="0"/>
                      </a:rPr>
                      <a:t>Karnataka</a:t>
                    </a:r>
                  </a:p>
                </p:txBody>
              </p:sp>
              <p:sp>
                <p:nvSpPr>
                  <p:cNvPr id="16" name="Text Box 103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4303290" y="4578542"/>
                    <a:ext cx="414851" cy="199469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bg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>
                    <a:spAutoFit/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r>
                      <a:rPr lang="fr-FR" sz="960" dirty="0">
                        <a:latin typeface="Century Gothic" panose="020B0502020202020204" pitchFamily="34" charset="0"/>
                      </a:rPr>
                      <a:t>Andhra </a:t>
                    </a:r>
                    <a:r>
                      <a:rPr lang="fr-FR" sz="960" dirty="0" err="1">
                        <a:latin typeface="Century Gothic" panose="020B0502020202020204" pitchFamily="34" charset="0"/>
                      </a:rPr>
                      <a:t>Pradesh</a:t>
                    </a:r>
                    <a:endParaRPr lang="fr-FR" sz="960" dirty="0">
                      <a:latin typeface="Century Gothic" panose="020B0502020202020204" pitchFamily="34" charset="0"/>
                    </a:endParaRPr>
                  </a:p>
                </p:txBody>
              </p:sp>
              <p:sp>
                <p:nvSpPr>
                  <p:cNvPr id="17" name="Text Box 104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3605523" y="4288827"/>
                    <a:ext cx="684165" cy="99735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bg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square" lIns="0" tIns="0" rIns="0" bIns="0">
                    <a:spAutoFit/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r>
                      <a:rPr lang="fr-FR" sz="960" dirty="0" err="1">
                        <a:latin typeface="Century Gothic" panose="020B0502020202020204" pitchFamily="34" charset="0"/>
                      </a:rPr>
                      <a:t>Maharashtra</a:t>
                    </a:r>
                    <a:endParaRPr lang="fr-FR" sz="960" dirty="0">
                      <a:latin typeface="Century Gothic" panose="020B0502020202020204" pitchFamily="34" charset="0"/>
                    </a:endParaRPr>
                  </a:p>
                </p:txBody>
              </p:sp>
              <p:sp>
                <p:nvSpPr>
                  <p:cNvPr id="18" name="Text Box 129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3503511" y="4870978"/>
                    <a:ext cx="204025" cy="99735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bg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 algn="ctr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>
                    <a:spAutoFit/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r>
                      <a:rPr lang="fr-FR" sz="960" dirty="0">
                        <a:latin typeface="Century Gothic" panose="020B0502020202020204" pitchFamily="34" charset="0"/>
                      </a:rPr>
                      <a:t>Goa</a:t>
                    </a:r>
                  </a:p>
                </p:txBody>
              </p:sp>
            </p:grpSp>
            <p:sp>
              <p:nvSpPr>
                <p:cNvPr id="6" name="Line Callout 1 5"/>
                <p:cNvSpPr/>
                <p:nvPr/>
              </p:nvSpPr>
              <p:spPr>
                <a:xfrm>
                  <a:off x="9402383" y="3254654"/>
                  <a:ext cx="2044253" cy="816864"/>
                </a:xfrm>
                <a:prstGeom prst="borderCallout1">
                  <a:avLst>
                    <a:gd name="adj1" fmla="val 41138"/>
                    <a:gd name="adj2" fmla="val -3860"/>
                    <a:gd name="adj3" fmla="val 38986"/>
                    <a:gd name="adj4" fmla="val -68782"/>
                  </a:avLst>
                </a:prstGeom>
                <a:solidFill>
                  <a:srgbClr val="18479F"/>
                </a:solidFill>
                <a:ln>
                  <a:solidFill>
                    <a:srgbClr val="18479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46300" tIns="73150" rIns="146300" bIns="7315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IN" sz="1440" dirty="0" err="1">
                      <a:latin typeface="Century Gothic" panose="020B0502020202020204" pitchFamily="34" charset="0"/>
                    </a:rPr>
                    <a:t>Salboni</a:t>
                  </a:r>
                  <a:r>
                    <a:rPr lang="en-IN" sz="1440" dirty="0">
                      <a:latin typeface="Century Gothic" panose="020B0502020202020204" pitchFamily="34" charset="0"/>
                    </a:rPr>
                    <a:t> Grinding Unit, </a:t>
                  </a:r>
                  <a:br>
                    <a:rPr lang="en-IN" sz="1440" dirty="0">
                      <a:latin typeface="Century Gothic" panose="020B0502020202020204" pitchFamily="34" charset="0"/>
                    </a:rPr>
                  </a:br>
                  <a:r>
                    <a:rPr lang="en-IN" sz="1440" dirty="0">
                      <a:latin typeface="Century Gothic" panose="020B0502020202020204" pitchFamily="34" charset="0"/>
                    </a:rPr>
                    <a:t>WB (2.4 MTPA) in 2017 </a:t>
                  </a:r>
                  <a:r>
                    <a:rPr lang="en-IN" sz="1440" dirty="0">
                      <a:latin typeface="Century Gothic" panose="020B0502020202020204" pitchFamily="34" charset="0"/>
                      <a:sym typeface="Wingdings" panose="05000000000000000000" pitchFamily="2" charset="2"/>
                    </a:rPr>
                    <a:t> </a:t>
                  </a:r>
                  <a:r>
                    <a:rPr lang="en-IN" sz="1440" dirty="0">
                      <a:solidFill>
                        <a:schemeClr val="bg1"/>
                      </a:solidFill>
                      <a:latin typeface="Century Gothic" panose="020B0502020202020204" pitchFamily="34" charset="0"/>
                      <a:sym typeface="Wingdings" panose="05000000000000000000" pitchFamily="2" charset="2"/>
                    </a:rPr>
                    <a:t>Largest in WB</a:t>
                  </a:r>
                  <a:endParaRPr lang="en-IN" sz="1440" dirty="0">
                    <a:solidFill>
                      <a:schemeClr val="bg1"/>
                    </a:solidFill>
                    <a:latin typeface="Century Gothic" panose="020B0502020202020204" pitchFamily="34" charset="0"/>
                  </a:endParaRPr>
                </a:p>
              </p:txBody>
            </p:sp>
            <p:sp>
              <p:nvSpPr>
                <p:cNvPr id="7" name="Line Callout 1 6"/>
                <p:cNvSpPr/>
                <p:nvPr/>
              </p:nvSpPr>
              <p:spPr>
                <a:xfrm>
                  <a:off x="9416493" y="5029561"/>
                  <a:ext cx="2016031" cy="816864"/>
                </a:xfrm>
                <a:prstGeom prst="borderCallout1">
                  <a:avLst>
                    <a:gd name="adj1" fmla="val 18750"/>
                    <a:gd name="adj2" fmla="val -8333"/>
                    <a:gd name="adj3" fmla="val -95389"/>
                    <a:gd name="adj4" fmla="val -96248"/>
                  </a:avLst>
                </a:prstGeom>
                <a:solidFill>
                  <a:srgbClr val="18479F"/>
                </a:solidFill>
                <a:ln>
                  <a:solidFill>
                    <a:srgbClr val="18479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46300" tIns="73150" rIns="146300" bIns="7315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IN" sz="1440" dirty="0">
                      <a:latin typeface="Century Gothic" panose="020B0502020202020204" pitchFamily="34" charset="0"/>
                    </a:rPr>
                    <a:t>Proposed </a:t>
                  </a:r>
                  <a:r>
                    <a:rPr lang="en-IN" sz="1440" dirty="0" err="1">
                      <a:latin typeface="Century Gothic" panose="020B0502020202020204" pitchFamily="34" charset="0"/>
                    </a:rPr>
                    <a:t>Jajpur</a:t>
                  </a:r>
                  <a:r>
                    <a:rPr lang="en-IN" sz="1440" dirty="0">
                      <a:latin typeface="Century Gothic" panose="020B0502020202020204" pitchFamily="34" charset="0"/>
                    </a:rPr>
                    <a:t> Grinding Unit, Orissa (1.2 MTPA</a:t>
                  </a:r>
                  <a:r>
                    <a:rPr lang="en-IN" sz="1440" dirty="0" smtClean="0">
                      <a:latin typeface="Century Gothic" panose="020B0502020202020204" pitchFamily="34" charset="0"/>
                    </a:rPr>
                    <a:t>)</a:t>
                  </a:r>
                  <a:endParaRPr lang="en-IN" sz="1440" dirty="0">
                    <a:latin typeface="Century Gothic" panose="020B0502020202020204" pitchFamily="34" charset="0"/>
                  </a:endParaRPr>
                </a:p>
              </p:txBody>
            </p:sp>
            <p:sp>
              <p:nvSpPr>
                <p:cNvPr id="8" name="Line Callout 1 7"/>
                <p:cNvSpPr/>
                <p:nvPr/>
              </p:nvSpPr>
              <p:spPr>
                <a:xfrm>
                  <a:off x="7119953" y="5240371"/>
                  <a:ext cx="1558724" cy="763710"/>
                </a:xfrm>
                <a:prstGeom prst="borderCallout1">
                  <a:avLst>
                    <a:gd name="adj1" fmla="val 18750"/>
                    <a:gd name="adj2" fmla="val -8333"/>
                    <a:gd name="adj3" fmla="val -18195"/>
                    <a:gd name="adj4" fmla="val -41660"/>
                  </a:avLst>
                </a:prstGeom>
                <a:solidFill>
                  <a:srgbClr val="18479F"/>
                </a:solidFill>
                <a:ln>
                  <a:solidFill>
                    <a:srgbClr val="18479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46300" tIns="73150" rIns="146300" bIns="7315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IN" sz="1440" dirty="0" err="1">
                      <a:latin typeface="Century Gothic" panose="020B0502020202020204" pitchFamily="34" charset="0"/>
                    </a:rPr>
                    <a:t>Nandyal</a:t>
                  </a:r>
                  <a:r>
                    <a:rPr lang="en-IN" sz="1440" dirty="0">
                      <a:latin typeface="Century Gothic" panose="020B0502020202020204" pitchFamily="34" charset="0"/>
                    </a:rPr>
                    <a:t> Integrated Unit AP (4.8 MTPA)</a:t>
                  </a:r>
                </a:p>
              </p:txBody>
            </p:sp>
            <p:sp>
              <p:nvSpPr>
                <p:cNvPr id="9" name="Line Callout 1 8"/>
                <p:cNvSpPr/>
                <p:nvPr/>
              </p:nvSpPr>
              <p:spPr>
                <a:xfrm flipH="1">
                  <a:off x="1963270" y="5240371"/>
                  <a:ext cx="2532857" cy="942283"/>
                </a:xfrm>
                <a:prstGeom prst="borderCallout1">
                  <a:avLst>
                    <a:gd name="adj1" fmla="val 18750"/>
                    <a:gd name="adj2" fmla="val -8333"/>
                    <a:gd name="adj3" fmla="val 19409"/>
                    <a:gd name="adj4" fmla="val -36471"/>
                  </a:avLst>
                </a:prstGeom>
                <a:solidFill>
                  <a:srgbClr val="18479F"/>
                </a:solidFill>
                <a:ln>
                  <a:solidFill>
                    <a:srgbClr val="18479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46300" tIns="73150" rIns="146300" bIns="7315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IN" sz="1440" dirty="0" err="1">
                      <a:latin typeface="Century Gothic" panose="020B0502020202020204" pitchFamily="34" charset="0"/>
                    </a:rPr>
                    <a:t>Vijaynagar</a:t>
                  </a:r>
                  <a:r>
                    <a:rPr lang="en-IN" sz="1440" dirty="0">
                      <a:latin typeface="Century Gothic" panose="020B0502020202020204" pitchFamily="34" charset="0"/>
                    </a:rPr>
                    <a:t> Grinding Unit  </a:t>
                  </a:r>
                  <a:br>
                    <a:rPr lang="en-IN" sz="1440" dirty="0">
                      <a:latin typeface="Century Gothic" panose="020B0502020202020204" pitchFamily="34" charset="0"/>
                    </a:rPr>
                  </a:br>
                  <a:r>
                    <a:rPr lang="en-IN" sz="1440" dirty="0">
                      <a:latin typeface="Century Gothic" panose="020B0502020202020204" pitchFamily="34" charset="0"/>
                    </a:rPr>
                    <a:t>KN (Current </a:t>
                  </a:r>
                  <a:r>
                    <a:rPr lang="en-IN" sz="1440" dirty="0" smtClean="0">
                      <a:latin typeface="Century Gothic" panose="020B0502020202020204" pitchFamily="34" charset="0"/>
                    </a:rPr>
                    <a:t>3.2 </a:t>
                  </a:r>
                  <a:r>
                    <a:rPr lang="en-IN" sz="1440" dirty="0">
                      <a:latin typeface="Century Gothic" panose="020B0502020202020204" pitchFamily="34" charset="0"/>
                    </a:rPr>
                    <a:t>MTPA)</a:t>
                  </a:r>
                </a:p>
              </p:txBody>
            </p:sp>
            <p:sp>
              <p:nvSpPr>
                <p:cNvPr id="10" name="Line Callout 1 9"/>
                <p:cNvSpPr/>
                <p:nvPr/>
              </p:nvSpPr>
              <p:spPr>
                <a:xfrm flipH="1">
                  <a:off x="1223682" y="3980644"/>
                  <a:ext cx="2622322" cy="910039"/>
                </a:xfrm>
                <a:prstGeom prst="borderCallout1">
                  <a:avLst>
                    <a:gd name="adj1" fmla="val 18750"/>
                    <a:gd name="adj2" fmla="val -8333"/>
                    <a:gd name="adj3" fmla="val 93291"/>
                    <a:gd name="adj4" fmla="val -51833"/>
                  </a:avLst>
                </a:prstGeom>
                <a:solidFill>
                  <a:srgbClr val="18479F"/>
                </a:solidFill>
                <a:ln>
                  <a:solidFill>
                    <a:srgbClr val="18479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46300" tIns="73150" rIns="146300" bIns="7315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IN" sz="1440" dirty="0" err="1">
                      <a:latin typeface="Century Gothic" panose="020B0502020202020204" pitchFamily="34" charset="0"/>
                    </a:rPr>
                    <a:t>Dolvi</a:t>
                  </a:r>
                  <a:r>
                    <a:rPr lang="en-IN" sz="1440" dirty="0">
                      <a:latin typeface="Century Gothic" panose="020B0502020202020204" pitchFamily="34" charset="0"/>
                    </a:rPr>
                    <a:t> Grinding Unit </a:t>
                  </a:r>
                  <a:br>
                    <a:rPr lang="en-IN" sz="1440" dirty="0">
                      <a:latin typeface="Century Gothic" panose="020B0502020202020204" pitchFamily="34" charset="0"/>
                    </a:rPr>
                  </a:br>
                  <a:r>
                    <a:rPr lang="en-IN" sz="1440" dirty="0">
                      <a:latin typeface="Century Gothic" panose="020B0502020202020204" pitchFamily="34" charset="0"/>
                    </a:rPr>
                    <a:t>MH (Currently 2.2 MTPA</a:t>
                  </a:r>
                  <a:r>
                    <a:rPr lang="en-IN" sz="1440" dirty="0" smtClean="0">
                      <a:latin typeface="Century Gothic" panose="020B0502020202020204" pitchFamily="34" charset="0"/>
                    </a:rPr>
                    <a:t>) to further expand to 4.0 MTPA</a:t>
                  </a:r>
                  <a:endParaRPr lang="en-IN" sz="1440" dirty="0">
                    <a:latin typeface="Century Gothic" panose="020B0502020202020204" pitchFamily="34" charset="0"/>
                  </a:endParaRPr>
                </a:p>
              </p:txBody>
            </p:sp>
          </p:grpSp>
          <p:sp>
            <p:nvSpPr>
              <p:cNvPr id="78" name="Text Box 103"/>
              <p:cNvSpPr txBox="1">
                <a:spLocks noChangeArrowheads="1"/>
              </p:cNvSpPr>
              <p:nvPr/>
            </p:nvSpPr>
            <p:spPr bwMode="auto">
              <a:xfrm>
                <a:off x="7704362" y="3600484"/>
                <a:ext cx="548741" cy="24622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fr-FR" sz="960" dirty="0">
                    <a:latin typeface="Arial" charset="0"/>
                  </a:rPr>
                  <a:t>West </a:t>
                </a:r>
                <a:r>
                  <a:rPr lang="fr-FR" sz="960" dirty="0" err="1">
                    <a:latin typeface="Arial" charset="0"/>
                  </a:rPr>
                  <a:t>Bengal</a:t>
                </a:r>
                <a:endParaRPr lang="fr-FR" sz="960" dirty="0">
                  <a:latin typeface="Arial" charset="0"/>
                </a:endParaRPr>
              </a:p>
            </p:txBody>
          </p:sp>
        </p:grpSp>
        <p:sp>
          <p:nvSpPr>
            <p:cNvPr id="80" name="Line Callout 1 79"/>
            <p:cNvSpPr/>
            <p:nvPr/>
          </p:nvSpPr>
          <p:spPr>
            <a:xfrm>
              <a:off x="9416493" y="4141774"/>
              <a:ext cx="2016031" cy="816864"/>
            </a:xfrm>
            <a:prstGeom prst="borderCallout1">
              <a:avLst>
                <a:gd name="adj1" fmla="val 42737"/>
                <a:gd name="adj2" fmla="val -6389"/>
                <a:gd name="adj3" fmla="val -1040"/>
                <a:gd name="adj4" fmla="val -91065"/>
              </a:avLst>
            </a:prstGeom>
            <a:solidFill>
              <a:srgbClr val="18479F"/>
            </a:solidFill>
            <a:ln>
              <a:solidFill>
                <a:srgbClr val="18479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6300" tIns="73150" rIns="146300" bIns="7315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IN" sz="1440" dirty="0">
                  <a:latin typeface="Century Gothic" panose="020B0502020202020204" pitchFamily="34" charset="0"/>
                </a:rPr>
                <a:t>Proposed Shiva Cement, Orissa (Current </a:t>
              </a:r>
              <a:r>
                <a:rPr lang="en-IN" sz="1440" dirty="0" smtClean="0">
                  <a:latin typeface="Century Gothic" panose="020B0502020202020204" pitchFamily="34" charset="0"/>
                </a:rPr>
                <a:t>0.15 </a:t>
              </a:r>
              <a:r>
                <a:rPr lang="en-IN" sz="1440" dirty="0">
                  <a:latin typeface="Century Gothic" panose="020B0502020202020204" pitchFamily="34" charset="0"/>
                </a:rPr>
                <a:t>Expansion by 1.2 MTPA)</a:t>
              </a:r>
            </a:p>
          </p:txBody>
        </p:sp>
      </p:grpSp>
      <p:sp>
        <p:nvSpPr>
          <p:cNvPr id="2" name="Rectangle 1"/>
          <p:cNvSpPr/>
          <p:nvPr/>
        </p:nvSpPr>
        <p:spPr>
          <a:xfrm>
            <a:off x="100993" y="7743371"/>
            <a:ext cx="5889172" cy="307773"/>
          </a:xfrm>
          <a:prstGeom prst="rect">
            <a:avLst/>
          </a:prstGeom>
          <a:solidFill>
            <a:srgbClr val="18479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spc="0" normalizeH="0" baseline="0" dirty="0" smtClean="0">
                <a:solidFill>
                  <a:schemeClr val="bg1"/>
                </a:solidFill>
                <a:effectLst/>
                <a:uFillTx/>
                <a:latin typeface="Century Gothic" panose="020B0502020202020204" pitchFamily="34" charset="0"/>
                <a:sym typeface="Calibri"/>
              </a:rPr>
              <a:t>Additional Clinkering unit being set up at Fujairah UAE for 1.0 MTPA</a:t>
            </a:r>
            <a:endParaRPr kumimoji="0" lang="en-US" sz="1400" b="0" i="0" u="none" strike="noStrike" cap="none" spc="0" normalizeH="0" baseline="0" dirty="0">
              <a:solidFill>
                <a:schemeClr val="bg1"/>
              </a:solidFill>
              <a:effectLst/>
              <a:uFillTx/>
              <a:latin typeface="Century Gothic" panose="020B0502020202020204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71837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C5149F0-75A5-4141-AAE3-49E215B66B35}" type="slidenum">
              <a:rPr lang="en-US" altLang="en-US" smtClean="0"/>
              <a:pPr>
                <a:defRPr/>
              </a:pPr>
              <a:t>8</a:t>
            </a:fld>
            <a:endParaRPr lang="en-US" alt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549" y="1377418"/>
            <a:ext cx="4172263" cy="5685665"/>
          </a:xfrm>
          <a:prstGeom prst="rect">
            <a:avLst/>
          </a:prstGeom>
          <a:ln>
            <a:noFill/>
          </a:ln>
        </p:spPr>
      </p:pic>
      <p:sp>
        <p:nvSpPr>
          <p:cNvPr id="8" name="Title 1"/>
          <p:cNvSpPr txBox="1">
            <a:spLocks/>
          </p:cNvSpPr>
          <p:nvPr/>
        </p:nvSpPr>
        <p:spPr>
          <a:xfrm>
            <a:off x="2994013" y="210023"/>
            <a:ext cx="9893216" cy="59093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wrap="square" lIns="109728" tIns="109728" rIns="109728" bIns="109728" anchor="ctr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kern="1200">
                <a:solidFill>
                  <a:schemeClr val="tx1"/>
                </a:solidFill>
                <a:latin typeface="Calibri" pitchFamily="34" charset="0"/>
                <a:ea typeface="+mj-ea"/>
                <a:cs typeface="+mj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>
              <a:defRPr/>
            </a:pPr>
            <a:r>
              <a:rPr lang="en-US" sz="2400" dirty="0" smtClean="0">
                <a:solidFill>
                  <a:prstClr val="black"/>
                </a:solidFill>
                <a:latin typeface="Century Gothic" panose="020B0502020202020204" pitchFamily="34" charset="0"/>
              </a:rPr>
              <a:t>Our Products- Cement &amp; Cementitious</a:t>
            </a:r>
            <a:endParaRPr lang="en-US" sz="2400" dirty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00524" y="1377417"/>
            <a:ext cx="4080079" cy="5685666"/>
          </a:xfrm>
          <a:prstGeom prst="rect">
            <a:avLst/>
          </a:prstGeom>
          <a:ln>
            <a:noFill/>
          </a:ln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42321" y="1377417"/>
            <a:ext cx="3398694" cy="5685665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565902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C5149F0-75A5-4141-AAE3-49E215B66B35}" type="slidenum">
              <a:rPr lang="en-US" altLang="en-US" smtClean="0"/>
              <a:pPr>
                <a:defRPr/>
              </a:pPr>
              <a:t>9</a:t>
            </a:fld>
            <a:endParaRPr lang="en-US" altLang="en-US"/>
          </a:p>
        </p:txBody>
      </p:sp>
      <p:sp>
        <p:nvSpPr>
          <p:cNvPr id="4" name="TextBox 3"/>
          <p:cNvSpPr txBox="1"/>
          <p:nvPr/>
        </p:nvSpPr>
        <p:spPr>
          <a:xfrm>
            <a:off x="-1" y="306859"/>
            <a:ext cx="14630401" cy="4801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4862" tIns="54862" rIns="54862" bIns="54862" numCol="1" spcCol="38100" rtlCol="0" anchor="t">
            <a:spAutoFit/>
          </a:bodyPr>
          <a:lstStyle/>
          <a:p>
            <a:pPr algn="ctr"/>
            <a:r>
              <a:rPr lang="en-US" sz="2400" b="1" dirty="0">
                <a:latin typeface="Century Gothic" panose="020B0502020202020204" pitchFamily="34" charset="0"/>
              </a:rPr>
              <a:t>Our Major Product Portfolio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8215" y="1287433"/>
            <a:ext cx="6962974" cy="313493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7253" y="1322243"/>
            <a:ext cx="6594564" cy="310012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8215" y="4787266"/>
            <a:ext cx="7155180" cy="321183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7567254" y="4937759"/>
            <a:ext cx="6594564" cy="166198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4862" tIns="54862" rIns="54862" bIns="54862" numCol="1" spcCol="38100" rtlCol="0" anchor="t">
            <a:spAutoFit/>
          </a:bodyPr>
          <a:lstStyle/>
          <a:p>
            <a:r>
              <a:rPr lang="en-IN" sz="1680" b="1" u="sng" dirty="0"/>
              <a:t>Other Products</a:t>
            </a:r>
            <a:r>
              <a:rPr lang="en-IN" sz="1680" dirty="0"/>
              <a:t> - </a:t>
            </a:r>
          </a:p>
          <a:p>
            <a:endParaRPr lang="en-IN" sz="1680" dirty="0"/>
          </a:p>
          <a:p>
            <a:r>
              <a:rPr lang="en-IN" sz="1680" dirty="0"/>
              <a:t>In addition to Portland Slag Cement &amp; </a:t>
            </a:r>
            <a:r>
              <a:rPr lang="en-IN" sz="1680" dirty="0" err="1"/>
              <a:t>Concreel</a:t>
            </a:r>
            <a:r>
              <a:rPr lang="en-IN" sz="1680" dirty="0"/>
              <a:t> HD, we also offer Ordinary Portland Cement (OPC) in the south to select markets</a:t>
            </a:r>
          </a:p>
          <a:p>
            <a:endParaRPr lang="en-IN" sz="1680" dirty="0"/>
          </a:p>
          <a:p>
            <a:endParaRPr lang="en-IN" sz="1680" dirty="0"/>
          </a:p>
        </p:txBody>
      </p:sp>
    </p:spTree>
    <p:extLst>
      <p:ext uri="{BB962C8B-B14F-4D97-AF65-F5344CB8AC3E}">
        <p14:creationId xmlns:p14="http://schemas.microsoft.com/office/powerpoint/2010/main" val="2840697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6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d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2.68679511000000070000E+000&quot;&gt;&lt;m_msothmcolidx val=&quot;0&quot;/&gt;&lt;m_rgb r=&quot;0B&quot; g=&quot;4D&quot; b=&quot;A3&quot;/&gt;&lt;m_nBrightness val=&quot;0&quot;/&gt;&lt;/elem&gt;&lt;elem m_fUsage=&quot;2.43900000000000010000E+000&quot;&gt;&lt;m_msothmcolidx val=&quot;0&quot;/&gt;&lt;m_rgb r=&quot;80&quot; g=&quot;77&quot; b=&quot;6A&quot;/&gt;&lt;m_nBrightness val=&quot;0&quot;/&gt;&lt;/elem&gt;&lt;elem m_fUsage=&quot;1.00000000000000000000E+000&quot;&gt;&lt;m_msothmcolidx val=&quot;0&quot;/&gt;&lt;m_rgb r=&quot;18&quot; g=&quot;47&quot; b=&quot;9F&quot;/&gt;&lt;m_nBrightness val=&quot;0&quot;/&gt;&lt;/elem&gt;&lt;elem m_fUsage=&quot;3.87420489000000150000E-001&quot;&gt;&lt;m_msothmcolidx val=&quot;0&quot;/&gt;&lt;m_rgb r=&quot;83&quot; g=&quot;EF&quot; b=&quot;83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msXOq47ESrrdcRaZS6t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RuJoYnTmqc_lO4LT8Bm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tQj3ZnTjGPMYsnsYorP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Esf50WRb2LmaxhNVYq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Mse4D6OEirIqcyjnvr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955BWqXkCaijxcOQDH6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DMYLwp3EOuQki_guVr0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DMYLwp3EOuQki_guVr0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DMYLwp3EOuQki_guVr0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DMYLwp3EOuQki_guVr0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msXOq47ESrrdcRaZS6t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msXOq47ESrrdcRaZS6tA"/>
</p:tagLst>
</file>

<file path=ppt/theme/theme1.xml><?xml version="1.0" encoding="utf-8"?>
<a:theme xmlns:a="http://schemas.openxmlformats.org/drawingml/2006/main" name="Office Theme">
  <a:themeElements>
    <a:clrScheme name="Office Them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000FF"/>
      </a:hlink>
      <a:folHlink>
        <a:srgbClr val="FF00FF"/>
      </a:folHlink>
    </a:clrScheme>
    <a:fontScheme name="Office Theme">
      <a:majorFont>
        <a:latin typeface="Calibri"/>
        <a:ea typeface="Calibri"/>
        <a:cs typeface="Calibri"/>
      </a:majorFont>
      <a:minorFont>
        <a:latin typeface="Helvetica"/>
        <a:ea typeface="Helvetica"/>
        <a:cs typeface="Helvetic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 Them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000FF"/>
      </a:hlink>
      <a:folHlink>
        <a:srgbClr val="FF00FF"/>
      </a:folHlink>
    </a:clrScheme>
    <a:fontScheme name="Office Theme">
      <a:majorFont>
        <a:latin typeface="Calibri"/>
        <a:ea typeface="Calibri"/>
        <a:cs typeface="Calibri"/>
      </a:majorFont>
      <a:minorFont>
        <a:latin typeface="Helvetica"/>
        <a:ea typeface="Helvetica"/>
        <a:cs typeface="Helvetic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orporate Profile</Template>
  <TotalTime>3</TotalTime>
  <Words>780</Words>
  <Application>Microsoft Office PowerPoint</Application>
  <PresentationFormat>Custom</PresentationFormat>
  <Paragraphs>120</Paragraphs>
  <Slides>1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8</vt:i4>
      </vt:variant>
    </vt:vector>
  </HeadingPairs>
  <TitlesOfParts>
    <vt:vector size="27" baseType="lpstr">
      <vt:lpstr>Arial</vt:lpstr>
      <vt:lpstr>Calibri</vt:lpstr>
      <vt:lpstr>Cambria</vt:lpstr>
      <vt:lpstr>Century Gothic</vt:lpstr>
      <vt:lpstr>Helvetica</vt:lpstr>
      <vt:lpstr>Wingdings</vt:lpstr>
      <vt:lpstr>Office Theme</vt:lpstr>
      <vt:lpstr>think-cell Slide</vt:lpstr>
      <vt:lpstr>Char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H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rivikram Shenvi</dc:creator>
  <cp:lastModifiedBy>Trivikram Shenvi</cp:lastModifiedBy>
  <cp:revision>4</cp:revision>
  <dcterms:created xsi:type="dcterms:W3CDTF">2018-09-19T17:30:47Z</dcterms:created>
  <dcterms:modified xsi:type="dcterms:W3CDTF">2018-09-19T17:42:11Z</dcterms:modified>
</cp:coreProperties>
</file>